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3817" r:id="rId1"/>
  </p:sldMasterIdLst>
  <p:notesMasterIdLst>
    <p:notesMasterId r:id="rId35"/>
  </p:notesMasterIdLst>
  <p:handoutMasterIdLst>
    <p:handoutMasterId r:id="rId36"/>
  </p:handoutMasterIdLst>
  <p:sldIdLst>
    <p:sldId id="2879" r:id="rId2"/>
    <p:sldId id="2852" r:id="rId3"/>
    <p:sldId id="2890" r:id="rId4"/>
    <p:sldId id="2927" r:id="rId5"/>
    <p:sldId id="2929" r:id="rId6"/>
    <p:sldId id="2922" r:id="rId7"/>
    <p:sldId id="2930" r:id="rId8"/>
    <p:sldId id="2931" r:id="rId9"/>
    <p:sldId id="2542" r:id="rId10"/>
    <p:sldId id="2543" r:id="rId11"/>
    <p:sldId id="269" r:id="rId12"/>
    <p:sldId id="2545" r:id="rId13"/>
    <p:sldId id="2549" r:id="rId14"/>
    <p:sldId id="2550" r:id="rId15"/>
    <p:sldId id="2551" r:id="rId16"/>
    <p:sldId id="2552" r:id="rId17"/>
    <p:sldId id="2553" r:id="rId18"/>
    <p:sldId id="2554" r:id="rId19"/>
    <p:sldId id="2555" r:id="rId20"/>
    <p:sldId id="2557" r:id="rId21"/>
    <p:sldId id="2567" r:id="rId22"/>
    <p:sldId id="2558" r:id="rId23"/>
    <p:sldId id="2560" r:id="rId24"/>
    <p:sldId id="336" r:id="rId25"/>
    <p:sldId id="337" r:id="rId26"/>
    <p:sldId id="2936" r:id="rId27"/>
    <p:sldId id="2923" r:id="rId28"/>
    <p:sldId id="2932" r:id="rId29"/>
    <p:sldId id="2933" r:id="rId30"/>
    <p:sldId id="2924" r:id="rId31"/>
    <p:sldId id="2934" r:id="rId32"/>
    <p:sldId id="2935" r:id="rId33"/>
    <p:sldId id="2830" r:id="rId34"/>
  </p:sldIdLst>
  <p:sldSz cx="12192000" cy="6858000"/>
  <p:notesSz cx="6858000" cy="9144000"/>
  <p:custDataLst>
    <p:tags r:id="rId3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868FB58A-EAD6-4F77-8DD3-55055D897427}">
          <p14:sldIdLst>
            <p14:sldId id="2879"/>
            <p14:sldId id="2852"/>
          </p14:sldIdLst>
        </p14:section>
        <p14:section name="1. Azure AI" id="{3E569B43-519F-4814-8F2C-C2821C5CF2F5}">
          <p14:sldIdLst>
            <p14:sldId id="2890"/>
            <p14:sldId id="2927"/>
            <p14:sldId id="2929"/>
          </p14:sldIdLst>
        </p14:section>
        <p14:section name="2. Custom Vision" id="{2E1296EE-C867-41A7-A68A-915C32E62C77}">
          <p14:sldIdLst>
            <p14:sldId id="2922"/>
            <p14:sldId id="2930"/>
            <p14:sldId id="2931"/>
            <p14:sldId id="2542"/>
            <p14:sldId id="2543"/>
            <p14:sldId id="269"/>
            <p14:sldId id="2545"/>
            <p14:sldId id="2549"/>
            <p14:sldId id="2550"/>
            <p14:sldId id="2551"/>
            <p14:sldId id="2552"/>
            <p14:sldId id="2553"/>
            <p14:sldId id="2554"/>
            <p14:sldId id="2555"/>
            <p14:sldId id="2557"/>
            <p14:sldId id="2567"/>
            <p14:sldId id="2558"/>
            <p14:sldId id="2560"/>
            <p14:sldId id="336"/>
            <p14:sldId id="337"/>
            <p14:sldId id="2936"/>
          </p14:sldIdLst>
        </p14:section>
        <p14:section name="3. Azure Machine Learning" id="{342C17C4-ABDA-4441-BE36-D4FC55AA12E0}">
          <p14:sldIdLst>
            <p14:sldId id="2923"/>
            <p14:sldId id="2932"/>
            <p14:sldId id="2933"/>
          </p14:sldIdLst>
        </p14:section>
        <p14:section name="4. MLOps" id="{A757F2CE-7372-4F4C-A4D5-86DE73722915}">
          <p14:sldIdLst>
            <p14:sldId id="2924"/>
            <p14:sldId id="2934"/>
            <p14:sldId id="2935"/>
            <p14:sldId id="2830"/>
          </p14:sldIdLst>
        </p14:section>
      </p14:sectionLst>
    </p:ext>
    <p:ext uri="{EFAFB233-063F-42B5-8137-9DF3F51BA10A}">
      <p15:sldGuideLst xmlns:p15="http://schemas.microsoft.com/office/powerpoint/2012/main">
        <p15:guide id="5" pos="7680">
          <p15:clr>
            <a:srgbClr val="A4A3A4"/>
          </p15:clr>
        </p15:guide>
        <p15:guide id="6" pos="302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3613" userDrawn="1">
          <p15:clr>
            <a:srgbClr val="A4A3A4"/>
          </p15:clr>
        </p15:guide>
        <p15:guide id="10" pos="11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goLbMocrTb2ufacOdehP+VW2Z8f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6C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34"/>
    <p:restoredTop sz="97704"/>
  </p:normalViewPr>
  <p:slideViewPr>
    <p:cSldViewPr>
      <p:cViewPr varScale="1">
        <p:scale>
          <a:sx n="219" d="100"/>
          <a:sy n="219" d="100"/>
        </p:scale>
        <p:origin x="544" y="192"/>
      </p:cViewPr>
      <p:guideLst>
        <p:guide pos="7680"/>
        <p:guide pos="302"/>
        <p:guide orient="horz" pos="2160"/>
        <p:guide pos="3613"/>
        <p:guide pos="111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11" d="100"/>
          <a:sy n="111" d="100"/>
        </p:scale>
        <p:origin x="31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90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86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8C53252-40E2-1140-93DC-273BE6BAB4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272953-6D0F-A44A-B675-2C037E1EA9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107D07-8856-4A49-BD6E-77CB7B939A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C92313-E055-8B43-9EAB-D8805474B351}" type="slidenum">
              <a:rPr lang="de-DE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682E3F-CC2B-2246-AC58-EA0ED7D4531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68DA50-66E2-A841-860C-2C0403C31B02}" type="datetimeFigureOut">
              <a:rPr lang="de-DE" smtClean="0"/>
              <a:t>31.10.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9604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620688" y="229394"/>
            <a:ext cx="4032448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869160" y="229394"/>
            <a:ext cx="1368152" cy="310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20688" y="971600"/>
            <a:ext cx="5631669" cy="316835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CH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>
              <a:defRPr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‹#›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127614656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1</a:t>
            </a:fld>
            <a:endParaRPr lang="de-DE" sz="1000" dirty="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666547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20713" y="971550"/>
            <a:ext cx="5630862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0" name="Google Shape;290;p16:notes"/>
          <p:cNvSpPr txBox="1">
            <a:spLocks noGrp="1"/>
          </p:cNvSpPr>
          <p:nvPr>
            <p:ph type="body" idx="1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1" name="Google Shape;291;p16:notes"/>
          <p:cNvSpPr txBox="1">
            <a:spLocks noGrp="1"/>
          </p:cNvSpPr>
          <p:nvPr>
            <p:ph type="sldNum" idx="12"/>
          </p:nvPr>
        </p:nvSpPr>
        <p:spPr>
          <a:xfrm>
            <a:off x="4869160" y="8460432"/>
            <a:ext cx="1368152" cy="34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0551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 dirty="0"/>
              <a:t>Zwei Probleme:</a:t>
            </a:r>
          </a:p>
          <a:p>
            <a:pPr marL="171450" indent="-171450">
              <a:buFontTx/>
              <a:buChar char="-"/>
            </a:pPr>
            <a:r>
              <a:rPr lang="en-CH" dirty="0"/>
              <a:t>Zu viel Parameter</a:t>
            </a:r>
          </a:p>
          <a:p>
            <a:pPr marL="171450" indent="-171450">
              <a:buFontTx/>
              <a:buChar char="-"/>
            </a:pPr>
            <a:r>
              <a:rPr lang="en-CH" dirty="0"/>
              <a:t>Wir verlieren die örtliche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B110977-9410-4B39-BE3A-9CE5BA0752B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892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971550"/>
            <a:ext cx="5630862" cy="3168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de-DE" sz="1000" smtClean="0">
                <a:solidFill>
                  <a:schemeClr val="dk1"/>
                </a:solidFill>
                <a:ea typeface="Montserrat Light"/>
                <a:sym typeface="Montserrat Light"/>
              </a:rPr>
              <a:pPr algn="r"/>
              <a:t>33</a:t>
            </a:fld>
            <a:endParaRPr lang="de-DE" sz="1000">
              <a:solidFill>
                <a:schemeClr val="dk1"/>
              </a:solidFill>
              <a:ea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3548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CC09FE8-D561-0B40-8968-D290712F5E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722900-AD4A-E946-AF0C-16C0890016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424" y="692696"/>
            <a:ext cx="4320480" cy="4680520"/>
          </a:xfrm>
          <a:solidFill>
            <a:schemeClr val="bg1">
              <a:alpha val="80000"/>
            </a:schemeClr>
          </a:solidFill>
        </p:spPr>
        <p:txBody>
          <a:bodyPr lIns="288000" tIns="432000" rIns="288000" bIns="1728000" anchor="ctr"/>
          <a:lstStyle>
            <a:lvl1pPr algn="l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433CFD-A275-9A47-A8FE-B9CD405E37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1424" y="3933056"/>
            <a:ext cx="4320480" cy="936104"/>
          </a:xfrm>
        </p:spPr>
        <p:txBody>
          <a:bodyPr lIns="288000" tIns="0" rIns="288000" bIns="0" anchor="t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x-none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80EB1EB-95F2-3947-8B86-5AA5ADAEAF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4869160"/>
            <a:ext cx="4320480" cy="432048"/>
          </a:xfrm>
        </p:spPr>
        <p:txBody>
          <a:bodyPr lIns="288000" tIns="0" rIns="288000" bIns="0" anchor="ctr"/>
          <a:lstStyle>
            <a:lvl1pPr algn="r">
              <a:defRPr sz="1800"/>
            </a:lvl1pPr>
          </a:lstStyle>
          <a:p>
            <a:pPr lvl="0"/>
            <a:r>
              <a:rPr lang="en-GB"/>
              <a:t>Datum</a:t>
            </a:r>
            <a:endParaRPr lang="x-none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F81AF7F9-AE8F-CD46-8D04-DFF0B6766E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22583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3BBEE-F1B8-CB4B-8696-97B0E48E8A19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8688288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523190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8A41E380-560D-CC4D-8700-72009A34BE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C1CDC5-77E1-9A4D-8FC7-03BE1A1EE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00591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81608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35379E5-4244-E543-8B89-6D477E80D4D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918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1F0E6F-1ABB-5745-A3B6-34D95B3BC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597666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CDDA9F0-D6F7-FB47-80C2-619FA2EAE293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436780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CH" smtClean="0"/>
              <a:t>31.10.21</a:t>
            </a:fld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8B338F7-3A0C-4449-A4DF-3D662587B527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0220828-13DE-8644-AF1A-9F7A6C320B83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602399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72488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99360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1AE7EA73-2334-614F-A2B8-12CF5B21FA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98411EE-78C7-054C-A83D-5C479315A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172498-B022-8F47-A9AC-B2826A878767}"/>
              </a:ext>
            </a:extLst>
          </p:cNvPr>
          <p:cNvSpPr>
            <a:spLocks noGrp="1"/>
          </p:cNvSpPr>
          <p:nvPr>
            <p:ph type="dt" sz="half" idx="42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31.10.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3310EA-2F0C-CB4D-B77D-947FCC486319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586E03-F020-6C44-9E2B-0AA121DEB480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7439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3952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B9FD496-5020-3A4F-91EC-89ED3101C7C8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479376" y="2060848"/>
            <a:ext cx="475142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47963E0C-543E-F946-B6F1-3D2AA59A1CC2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314ECB9-4372-D943-B0A4-A481683C4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2563243-CB61-0649-9217-BC28EF28B936}"/>
              </a:ext>
            </a:extLst>
          </p:cNvPr>
          <p:cNvSpPr>
            <a:spLocks noGrp="1"/>
          </p:cNvSpPr>
          <p:nvPr>
            <p:ph type="dt" sz="half" idx="43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31.10.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FF9E98B-7C54-6049-BC2E-166CE865DBCE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920FA7E-FBDE-4F4F-9834-DB00FAD0DC06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4268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077652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F3973B-A20E-BA4E-BA56-FE3C853DF653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7392144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1E650D5-5D2F-6242-AFD7-AC05859DA400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3935760" y="2060848"/>
            <a:ext cx="3024336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7463B457-5EC0-5B44-B218-999D8E854EF5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107206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C32E033-7B76-E543-BB76-2FBC5128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9937104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A504FF-F37F-684F-BDA9-81663D39D486}"/>
              </a:ext>
            </a:extLst>
          </p:cNvPr>
          <p:cNvSpPr>
            <a:spLocks noGrp="1"/>
          </p:cNvSpPr>
          <p:nvPr>
            <p:ph type="dt" sz="half" idx="44"/>
          </p:nvPr>
        </p:nvSpPr>
        <p:spPr>
          <a:xfrm>
            <a:off x="8328248" y="6453336"/>
            <a:ext cx="1656184" cy="288032"/>
          </a:xfrm>
        </p:spPr>
        <p:txBody>
          <a:bodyPr/>
          <a:lstStyle/>
          <a:p>
            <a:fld id="{4F00FF94-4D32-304B-84F4-D3F376801E0E}" type="datetime1">
              <a:rPr lang="de-DE" smtClean="0"/>
              <a:t>31.10.21</a:t>
            </a:fld>
            <a:endParaRPr lang="x-non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31F0AF-3049-B44C-8D1D-191D7986AA91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E2A518-D59A-224F-AD09-A0A1DC7AE97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>
          <a:xfrm>
            <a:off x="9984432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70513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6BA68-83C8-C643-A171-92D30179C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6D80E-2C31-5E48-A687-766AF0ABB5D8}" type="datetime1">
              <a:t>31.10.21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B3AA43-8DCB-6F45-A2A9-DCF28E929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F30141-0113-1548-9CEB-45390E11A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9E14A0-CFFF-A74B-A7AA-EB3F85A84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4877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A99C3A-31E0-E249-86EB-06B515642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3A4D3-F2BC-704E-9E9C-EE76EBE5A2D2}" type="datetime1">
              <a:t>31.10.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4B6EE5-EE0E-4345-B638-CC7273A8F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341D3-1A4B-A248-BA19-5161434C5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52747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BBE0DDB-1F83-394C-9D31-C38248E1BD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Bil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welche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ine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m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s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5416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764704"/>
            <a:ext cx="11233248" cy="5328592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  <a:lvl2pPr marL="1800" indent="0">
              <a:buNone/>
              <a:defRPr sz="6000" b="1"/>
            </a:lvl2pPr>
            <a:lvl3pPr>
              <a:defRPr sz="6000" b="1"/>
            </a:lvl3pPr>
            <a:lvl4pPr>
              <a:defRPr sz="6000" b="1"/>
            </a:lvl4pPr>
            <a:lvl5pPr>
              <a:defRPr sz="60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64096930-CA18-AA46-99C9-FCC300DE67A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347039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406400" y="1268413"/>
            <a:ext cx="11353800" cy="50403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Wingdings" charset="2"/>
              <a:buNone/>
              <a:defRPr sz="2000"/>
            </a:lvl1pPr>
            <a:lvl2pPr marL="342900" indent="-341313">
              <a:buFont typeface="Wingdings" charset="2"/>
              <a:buChar char="§"/>
              <a:defRPr sz="2000"/>
            </a:lvl2pPr>
            <a:lvl3pPr marL="711200" indent="-366713">
              <a:buFont typeface="Wingdings" charset="2"/>
              <a:buChar char="§"/>
              <a:defRPr sz="2000"/>
            </a:lvl3pPr>
            <a:lvl4pPr marL="1068388" indent="-355600">
              <a:buFont typeface="Wingdings" charset="2"/>
              <a:buChar char="§"/>
              <a:defRPr sz="2000"/>
            </a:lvl4pPr>
            <a:lvl5pPr marL="1435100" indent="-365125">
              <a:buFont typeface="Wingdings" charset="2"/>
              <a:buChar char="§"/>
              <a:defRPr sz="2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113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592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163F157E-62D7-E340-B315-F28FB10F0E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4D8F6DF-3754-5B48-AD59-709040C351FF}" type="datetime1">
              <a:t>31.10.21</a:t>
            </a:fld>
            <a:endParaRPr lang="x-none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831BBA89-C0C3-344F-BD00-5355BC7B57B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D4F5A5F4-1B98-B34C-AC67-EAF4E9A104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830ACCE6-E560-2647-8ED5-637906AAB9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19336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526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0A7DCEE-824E-1944-9DC1-8C95CD24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 lIns="475200" tIns="766800" rIns="475200" bIns="792000" anchor="ctr"/>
          <a:lstStyle>
            <a:lvl1pPr algn="ctr">
              <a:defRPr sz="4400"/>
            </a:lvl1pPr>
          </a:lstStyle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540FB1-EF1C-954F-931C-9378E0FDFB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D435406-F75F-A044-8D24-3D13FC10351A}" type="datetime1">
              <a:t>31.10.21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1227D9-19E3-1148-8EE9-D37C97CE2AF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524EC26-8B10-9642-A7A4-A74EBFD5C6F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96AAFE8-B0E2-4745-A45D-8AC5F83483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16080" y="0"/>
            <a:ext cx="53759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1" name="Picture Placeholder 28">
            <a:extLst>
              <a:ext uri="{FF2B5EF4-FFF2-40B4-BE49-F238E27FC236}">
                <a16:creationId xmlns:a16="http://schemas.microsoft.com/office/drawing/2014/main" id="{ADB0BDE1-184F-1D44-A27F-938C317E9C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387864" y="5805377"/>
            <a:ext cx="1684800" cy="1007999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91449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6B053-D537-504B-8EF0-86398A7A5523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2BC5CEF-26FA-3449-8134-AB81D3B67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23405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050A1-7A25-6B42-8436-64258971CEC3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2024" y="2060848"/>
            <a:ext cx="5400600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016AAB4-A689-954C-AB6A-7604B629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89735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BEC49-6F8A-7246-8AD5-3C48A91F5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6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4ED8D-632B-4746-9073-F68087301B87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96D5F-24AE-CB45-B350-B6E07FC2E8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56240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53DCAA-9061-214F-ADC6-6CFFC92EC34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67808" y="2060848"/>
            <a:ext cx="345638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237272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44AFCF9-2C49-244E-8AA8-EC8C6733C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6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0F8A2FEE-C3DB-394A-9CA8-55649DF229A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537592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076ABB73-D7B7-AF40-8658-8AC1B9498C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75760" y="5943523"/>
            <a:ext cx="824400" cy="869853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05FE0E0-0A35-514C-A09E-CEAE5C73F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5960" y="764704"/>
            <a:ext cx="597541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B4A3091-1EEF-E346-868A-0783CEAA7CF1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4F00FF94-4D32-304B-84F4-D3F376801E0E}" type="datetime1">
              <a:rPr lang="de-DE" smtClean="0"/>
              <a:t>31.10.21</a:t>
            </a:fld>
            <a:endParaRPr lang="x-non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34511-3E5A-C647-AA12-37C0B8CBB084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A266F52-862B-5043-9D26-3369A6B9726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6F384F3-7370-614A-A31B-1FFDAFE59CB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21954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9937104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62F2-8E31-5F4F-B5B1-1053BE3C7E03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</p:txBody>
      </p:sp>
      <p:sp>
        <p:nvSpPr>
          <p:cNvPr id="17" name="Picture Placeholder 28">
            <a:extLst>
              <a:ext uri="{FF2B5EF4-FFF2-40B4-BE49-F238E27FC236}">
                <a16:creationId xmlns:a16="http://schemas.microsoft.com/office/drawing/2014/main" id="{352C6BDF-4345-524E-AD02-3D8E82B504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23EECD-AB0F-6F44-9A4C-BDFE4E4F0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70980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342-963A-4848-AE1C-6027AE0C00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5520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4BA3-0BB1-4A43-9D8E-9D4683BDF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F0EDE-B741-9745-A4ED-12989E76570E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E5908-E4EA-0C48-9763-CE12A8BAC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86156" y="6453336"/>
            <a:ext cx="3672408" cy="288032"/>
          </a:xfrm>
        </p:spPr>
        <p:txBody>
          <a:bodyPr/>
          <a:lstStyle/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3A5D1C-5DFB-244D-8246-9CCDD2F8A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‹#›</a:t>
            </a:fld>
            <a:endParaRPr lang="x-none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5EAF899-708B-F64F-BC26-2F89AF863BC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415480" cy="6858000"/>
          </a:xfrm>
          <a:solidFill>
            <a:schemeClr val="accent3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Füge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Bild </a:t>
            </a:r>
            <a:r>
              <a:rPr lang="en-US" dirty="0" err="1"/>
              <a:t>ein</a:t>
            </a:r>
            <a:r>
              <a:rPr lang="en-US" dirty="0"/>
              <a:t>, welche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deinem</a:t>
            </a:r>
            <a:r>
              <a:rPr lang="en-US" dirty="0"/>
              <a:t> </a:t>
            </a:r>
            <a:r>
              <a:rPr lang="en-US" dirty="0" err="1"/>
              <a:t>Thema</a:t>
            </a:r>
            <a:r>
              <a:rPr lang="en-US" dirty="0"/>
              <a:t> </a:t>
            </a:r>
            <a:r>
              <a:rPr lang="en-US" dirty="0" err="1"/>
              <a:t>passt</a:t>
            </a:r>
            <a:r>
              <a:rPr lang="en-US" dirty="0"/>
              <a:t>. </a:t>
            </a:r>
          </a:p>
          <a:p>
            <a:endParaRPr lang="x-none"/>
          </a:p>
          <a:p>
            <a:endParaRPr lang="x-none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0C2BDE2-3894-9943-A323-540BE67A0B10}"/>
              </a:ext>
            </a:extLst>
          </p:cNvPr>
          <p:cNvSpPr>
            <a:spLocks noGrp="1"/>
          </p:cNvSpPr>
          <p:nvPr>
            <p:ph idx="41"/>
          </p:nvPr>
        </p:nvSpPr>
        <p:spPr>
          <a:xfrm>
            <a:off x="6960096" y="2060848"/>
            <a:ext cx="4752528" cy="410445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18" name="Picture Placeholder 28">
            <a:extLst>
              <a:ext uri="{FF2B5EF4-FFF2-40B4-BE49-F238E27FC236}">
                <a16:creationId xmlns:a16="http://schemas.microsoft.com/office/drawing/2014/main" id="{7789062B-F58D-D84B-B634-839EB2020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5540" y="5943523"/>
            <a:ext cx="824400" cy="86985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8" b="-98"/>
            </a:stretch>
          </a:blipFill>
        </p:spPr>
        <p:txBody>
          <a:bodyPr/>
          <a:lstStyle>
            <a:lvl1pPr>
              <a:defRPr sz="800"/>
            </a:lvl1pPr>
          </a:lstStyle>
          <a:p>
            <a:r>
              <a:rPr lang="de-DE"/>
              <a:t>Bild durch Klicken auf Symbol hinzufügen</a:t>
            </a:r>
            <a:endParaRPr lang="x-none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FBC51FCF-C906-E441-955D-B1986EDA8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0" y="764704"/>
            <a:ext cx="9935856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44455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E616F2-B55E-DF42-AC7E-BDD9ADC38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27583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120549D-4B63-7E45-A5E6-2BCB24971E8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  <a:buClrTx/>
              <a:buFontTx/>
              <a:buNone/>
            </a:pPr>
            <a:endParaRPr lang="en-GB" sz="3600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379595-6034-154C-A939-4562DC1A1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764704"/>
            <a:ext cx="11232000" cy="9361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B81F0-DE74-2F4B-81A6-3DF2139BCB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376" y="2060848"/>
            <a:ext cx="11233248" cy="4104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C75BA-D039-6C41-99D0-D2384F6091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60296" y="6453336"/>
            <a:ext cx="1656184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00FF94-4D32-304B-84F4-D3F376801E0E}" type="datetime1">
              <a:t>31.10.21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8638F2-8897-274E-A764-3B899586C2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376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Firmenpräsentation</a:t>
            </a:r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777E2-FF3E-8E46-A8D9-2A6F6DF1A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453336"/>
            <a:ext cx="43204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D6F384F3-7370-614A-A31B-1FFDAFE59CBA}" type="slidenum">
              <a:rPr lang="x-none"/>
              <a:pPr/>
              <a:t>‹#›</a:t>
            </a:fld>
            <a:endParaRPr lang="x-none"/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BCAC7CC-FC4D-D243-83C0-1F32B00CB84A}"/>
              </a:ext>
            </a:extLst>
          </p:cNvPr>
          <p:cNvSpPr/>
          <p:nvPr userDrawn="1"/>
        </p:nvSpPr>
        <p:spPr>
          <a:xfrm>
            <a:off x="12504864" y="404728"/>
            <a:ext cx="936000" cy="576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7" name="Rechteck 6">
            <a:extLst>
              <a:ext uri="{FF2B5EF4-FFF2-40B4-BE49-F238E27FC236}">
                <a16:creationId xmlns:a16="http://schemas.microsoft.com/office/drawing/2014/main" id="{D4A86B32-C870-F94A-9772-9A4A9394865A}"/>
              </a:ext>
            </a:extLst>
          </p:cNvPr>
          <p:cNvSpPr/>
          <p:nvPr userDrawn="1"/>
        </p:nvSpPr>
        <p:spPr>
          <a:xfrm>
            <a:off x="12504864" y="1052800"/>
            <a:ext cx="936000" cy="576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36702ED2-5F1A-6B47-BADF-CC1D56FBAE69}"/>
              </a:ext>
            </a:extLst>
          </p:cNvPr>
          <p:cNvSpPr txBox="1"/>
          <p:nvPr userDrawn="1"/>
        </p:nvSpPr>
        <p:spPr>
          <a:xfrm>
            <a:off x="12504864" y="44664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Logofarben</a:t>
            </a:r>
          </a:p>
        </p:txBody>
      </p:sp>
      <p:sp>
        <p:nvSpPr>
          <p:cNvPr id="19" name="Textfeld 8">
            <a:extLst>
              <a:ext uri="{FF2B5EF4-FFF2-40B4-BE49-F238E27FC236}">
                <a16:creationId xmlns:a16="http://schemas.microsoft.com/office/drawing/2014/main" id="{2EF0F837-4557-BD48-9963-87F918F6CADB}"/>
              </a:ext>
            </a:extLst>
          </p:cNvPr>
          <p:cNvSpPr txBox="1"/>
          <p:nvPr userDrawn="1"/>
        </p:nvSpPr>
        <p:spPr>
          <a:xfrm>
            <a:off x="12504864" y="3933096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Zusatzfarben</a:t>
            </a:r>
          </a:p>
        </p:txBody>
      </p:sp>
      <p:sp>
        <p:nvSpPr>
          <p:cNvPr id="20" name="Rechteck 9">
            <a:extLst>
              <a:ext uri="{FF2B5EF4-FFF2-40B4-BE49-F238E27FC236}">
                <a16:creationId xmlns:a16="http://schemas.microsoft.com/office/drawing/2014/main" id="{2E06DFE7-13EE-894E-A153-775A0C39B226}"/>
              </a:ext>
            </a:extLst>
          </p:cNvPr>
          <p:cNvSpPr/>
          <p:nvPr userDrawn="1"/>
        </p:nvSpPr>
        <p:spPr>
          <a:xfrm>
            <a:off x="12504864" y="2334363"/>
            <a:ext cx="936000" cy="57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2ECD196D-7A92-4F4E-BC8B-68FD96D5B390}"/>
              </a:ext>
            </a:extLst>
          </p:cNvPr>
          <p:cNvSpPr/>
          <p:nvPr userDrawn="1"/>
        </p:nvSpPr>
        <p:spPr>
          <a:xfrm>
            <a:off x="12504864" y="4293096"/>
            <a:ext cx="936000" cy="576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2" name="Rechteck 11">
            <a:extLst>
              <a:ext uri="{FF2B5EF4-FFF2-40B4-BE49-F238E27FC236}">
                <a16:creationId xmlns:a16="http://schemas.microsoft.com/office/drawing/2014/main" id="{B6655BF8-F33C-5A43-931C-73B98FDB07A0}"/>
              </a:ext>
            </a:extLst>
          </p:cNvPr>
          <p:cNvSpPr/>
          <p:nvPr userDrawn="1"/>
        </p:nvSpPr>
        <p:spPr>
          <a:xfrm>
            <a:off x="12504984" y="4941232"/>
            <a:ext cx="936000" cy="576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3" name="Rechteck 12">
            <a:extLst>
              <a:ext uri="{FF2B5EF4-FFF2-40B4-BE49-F238E27FC236}">
                <a16:creationId xmlns:a16="http://schemas.microsoft.com/office/drawing/2014/main" id="{146BAFC4-4F1E-034C-9C8C-B5B3BC010C90}"/>
              </a:ext>
            </a:extLst>
          </p:cNvPr>
          <p:cNvSpPr/>
          <p:nvPr userDrawn="1"/>
        </p:nvSpPr>
        <p:spPr>
          <a:xfrm>
            <a:off x="12504864" y="5589304"/>
            <a:ext cx="936000" cy="576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4" name="Rechteck 13">
            <a:extLst>
              <a:ext uri="{FF2B5EF4-FFF2-40B4-BE49-F238E27FC236}">
                <a16:creationId xmlns:a16="http://schemas.microsoft.com/office/drawing/2014/main" id="{7AD01FDD-24AB-2941-B828-49356C8FFCDE}"/>
              </a:ext>
            </a:extLst>
          </p:cNvPr>
          <p:cNvSpPr/>
          <p:nvPr userDrawn="1"/>
        </p:nvSpPr>
        <p:spPr>
          <a:xfrm>
            <a:off x="12504864" y="6237376"/>
            <a:ext cx="936000" cy="576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  <p:sp>
        <p:nvSpPr>
          <p:cNvPr id="25" name="Textfeld 14">
            <a:extLst>
              <a:ext uri="{FF2B5EF4-FFF2-40B4-BE49-F238E27FC236}">
                <a16:creationId xmlns:a16="http://schemas.microsoft.com/office/drawing/2014/main" id="{420B057F-2255-914E-A7C8-F592B8298382}"/>
              </a:ext>
            </a:extLst>
          </p:cNvPr>
          <p:cNvSpPr txBox="1"/>
          <p:nvPr userDrawn="1"/>
        </p:nvSpPr>
        <p:spPr>
          <a:xfrm>
            <a:off x="12504864" y="1988880"/>
            <a:ext cx="1368000" cy="360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de-DE" sz="1600" b="0" i="0" u="none" strike="noStrike" cap="none" dirty="0">
                <a:solidFill>
                  <a:schemeClr val="tx1"/>
                </a:solidFill>
                <a:effectLst/>
                <a:latin typeface="+mn-lt"/>
                <a:ea typeface="Arial"/>
                <a:cs typeface="Arial"/>
                <a:sym typeface="Arial"/>
              </a:rPr>
              <a:t>Schriftfarben</a:t>
            </a:r>
          </a:p>
        </p:txBody>
      </p:sp>
      <p:sp>
        <p:nvSpPr>
          <p:cNvPr id="26" name="Rechteck 16">
            <a:extLst>
              <a:ext uri="{FF2B5EF4-FFF2-40B4-BE49-F238E27FC236}">
                <a16:creationId xmlns:a16="http://schemas.microsoft.com/office/drawing/2014/main" id="{DB121EDC-23C2-AD48-B979-9DA7C17EE348}"/>
              </a:ext>
            </a:extLst>
          </p:cNvPr>
          <p:cNvSpPr/>
          <p:nvPr userDrawn="1"/>
        </p:nvSpPr>
        <p:spPr>
          <a:xfrm>
            <a:off x="12504864" y="2997016"/>
            <a:ext cx="936000" cy="576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4133032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46" r:id="rId2"/>
    <p:sldLayoutId id="2147483848" r:id="rId3"/>
    <p:sldLayoutId id="2147483844" r:id="rId4"/>
    <p:sldLayoutId id="2147483833" r:id="rId5"/>
    <p:sldLayoutId id="2147483842" r:id="rId6"/>
    <p:sldLayoutId id="2147483829" r:id="rId7"/>
    <p:sldLayoutId id="2147483831" r:id="rId8"/>
    <p:sldLayoutId id="2147483832" r:id="rId9"/>
    <p:sldLayoutId id="2147483834" r:id="rId10"/>
    <p:sldLayoutId id="2147483835" r:id="rId11"/>
    <p:sldLayoutId id="2147483837" r:id="rId12"/>
    <p:sldLayoutId id="2147483838" r:id="rId13"/>
    <p:sldLayoutId id="2147483839" r:id="rId14"/>
    <p:sldLayoutId id="2147483823" r:id="rId15"/>
    <p:sldLayoutId id="2147483824" r:id="rId16"/>
    <p:sldLayoutId id="2147483843" r:id="rId17"/>
    <p:sldLayoutId id="2147483850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slideshare.net/akshaymuroor/deep-learning-24650492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2010.11929.pdf" TargetMode="External"/><Relationship Id="rId2" Type="http://schemas.openxmlformats.org/officeDocument/2006/relationships/hyperlink" Target="https://huggingface.co/models?pipeline_tag=image-classification&amp;sort=downloads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1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C2F4A9C5-1F61-5044-A690-DC7E1B930F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A5963BE4-66EE-F645-B143-45959552BD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itchhiker’s Guide to Azure Machine Learning</a:t>
            </a:r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35C81342-C73D-D649-9446-03CB94EC76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aniel </a:t>
            </a:r>
            <a:r>
              <a:rPr lang="de-DE" dirty="0" err="1"/>
              <a:t>Yu</a:t>
            </a:r>
            <a:r>
              <a:rPr lang="de-DE" dirty="0"/>
              <a:t>, Florian Müller, Thomas Weib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0CCE9DD-179D-1946-A311-533B4E3CBE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x-none" dirty="0"/>
              <a:t>03.11.202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179C1A6-3C79-D345-8BBC-3B06A21E2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146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416247-202E-2C47-81E2-BF7FD63BCD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6F9CE-EFD8-3945-9E59-4AC6A321A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5277B-10E9-DE42-B4C8-EE3D96EBF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07ACAC-07BB-6A49-9139-DAACB85F3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2608F01-30B1-264D-B326-200B447C705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9DAF989-7854-C549-A7E0-74856FB767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BC9333-FFE1-794D-9604-391974734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ieht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AI?</a:t>
            </a:r>
            <a:endParaRPr lang="en-CH" dirty="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900C92F-92F7-D147-975F-0AEF01E135C4}"/>
              </a:ext>
            </a:extLst>
          </p:cNvPr>
          <p:cNvSpPr/>
          <p:nvPr/>
        </p:nvSpPr>
        <p:spPr>
          <a:xfrm>
            <a:off x="4925695" y="2132856"/>
            <a:ext cx="2340610" cy="31028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CD36533-9F70-6E4C-B820-5282E2ACA498}"/>
              </a:ext>
            </a:extLst>
          </p:cNvPr>
          <p:cNvSpPr/>
          <p:nvPr/>
        </p:nvSpPr>
        <p:spPr>
          <a:xfrm>
            <a:off x="1759353" y="2134458"/>
            <a:ext cx="2325211" cy="30951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3415674F-0A82-B243-AD38-FD96CCCEA8B4}"/>
              </a:ext>
            </a:extLst>
          </p:cNvPr>
          <p:cNvSpPr/>
          <p:nvPr/>
        </p:nvSpPr>
        <p:spPr>
          <a:xfrm>
            <a:off x="7966856" y="2132856"/>
            <a:ext cx="2332910" cy="31028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2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38294E9-FEF1-014F-BB30-B5150D9040F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3" name="Grafik 14">
            <a:extLst>
              <a:ext uri="{FF2B5EF4-FFF2-40B4-BE49-F238E27FC236}">
                <a16:creationId xmlns:a16="http://schemas.microsoft.com/office/drawing/2014/main" id="{F7261836-99F4-0F46-9338-485DF185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78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33"/>
          <p:cNvSpPr/>
          <p:nvPr/>
        </p:nvSpPr>
        <p:spPr>
          <a:xfrm>
            <a:off x="4082625" y="3323012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p33"/>
          <p:cNvSpPr/>
          <p:nvPr/>
        </p:nvSpPr>
        <p:spPr>
          <a:xfrm>
            <a:off x="4082625" y="4137150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33"/>
          <p:cNvSpPr/>
          <p:nvPr/>
        </p:nvSpPr>
        <p:spPr>
          <a:xfrm>
            <a:off x="4082625" y="2508875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p33"/>
          <p:cNvSpPr/>
          <p:nvPr/>
        </p:nvSpPr>
        <p:spPr>
          <a:xfrm>
            <a:off x="4082625" y="495128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p33"/>
          <p:cNvSpPr/>
          <p:nvPr/>
        </p:nvSpPr>
        <p:spPr>
          <a:xfrm>
            <a:off x="5486781" y="288691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p33"/>
          <p:cNvSpPr/>
          <p:nvPr/>
        </p:nvSpPr>
        <p:spPr>
          <a:xfrm>
            <a:off x="5486781" y="3701054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33"/>
          <p:cNvSpPr/>
          <p:nvPr/>
        </p:nvSpPr>
        <p:spPr>
          <a:xfrm>
            <a:off x="5486781" y="4515191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p33"/>
          <p:cNvSpPr/>
          <p:nvPr/>
        </p:nvSpPr>
        <p:spPr>
          <a:xfrm>
            <a:off x="6890937" y="288691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p33"/>
          <p:cNvSpPr/>
          <p:nvPr/>
        </p:nvSpPr>
        <p:spPr>
          <a:xfrm>
            <a:off x="6890937" y="3701054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2" name="Google Shape;302;p33"/>
          <p:cNvSpPr/>
          <p:nvPr/>
        </p:nvSpPr>
        <p:spPr>
          <a:xfrm>
            <a:off x="6890937" y="4515191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" name="Google Shape;303;p33"/>
          <p:cNvSpPr/>
          <p:nvPr/>
        </p:nvSpPr>
        <p:spPr>
          <a:xfrm>
            <a:off x="8298795" y="3697007"/>
            <a:ext cx="648072" cy="648072"/>
          </a:xfrm>
          <a:prstGeom prst="ellipse">
            <a:avLst/>
          </a:prstGeom>
          <a:solidFill>
            <a:schemeClr val="accent2"/>
          </a:solidFill>
          <a:ln w="12700" cap="flat" cmpd="sng">
            <a:solidFill>
              <a:srgbClr val="002D4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04" name="Google Shape;304;p33"/>
          <p:cNvCxnSpPr>
            <a:stCxn id="295" idx="6"/>
            <a:endCxn id="297" idx="2"/>
          </p:cNvCxnSpPr>
          <p:nvPr/>
        </p:nvCxnSpPr>
        <p:spPr>
          <a:xfrm>
            <a:off x="4730697" y="2832911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5" name="Google Shape;305;p33"/>
          <p:cNvCxnSpPr>
            <a:endCxn id="298" idx="2"/>
          </p:cNvCxnSpPr>
          <p:nvPr/>
        </p:nvCxnSpPr>
        <p:spPr>
          <a:xfrm>
            <a:off x="4730781" y="2832816"/>
            <a:ext cx="756000" cy="11922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6" name="Google Shape;306;p33"/>
          <p:cNvCxnSpPr>
            <a:stCxn id="295" idx="6"/>
            <a:endCxn id="299" idx="2"/>
          </p:cNvCxnSpPr>
          <p:nvPr/>
        </p:nvCxnSpPr>
        <p:spPr>
          <a:xfrm>
            <a:off x="4730697" y="2832912"/>
            <a:ext cx="756000" cy="2006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7" name="Google Shape;307;p33"/>
          <p:cNvCxnSpPr>
            <a:stCxn id="293" idx="6"/>
            <a:endCxn id="297" idx="2"/>
          </p:cNvCxnSpPr>
          <p:nvPr/>
        </p:nvCxnSpPr>
        <p:spPr>
          <a:xfrm rot="10800000" flipH="1">
            <a:off x="4730697" y="3210998"/>
            <a:ext cx="756000" cy="436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8" name="Google Shape;308;p33"/>
          <p:cNvCxnSpPr>
            <a:stCxn id="293" idx="6"/>
            <a:endCxn id="298" idx="2"/>
          </p:cNvCxnSpPr>
          <p:nvPr/>
        </p:nvCxnSpPr>
        <p:spPr>
          <a:xfrm>
            <a:off x="4730697" y="3647048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09" name="Google Shape;309;p33"/>
          <p:cNvCxnSpPr>
            <a:stCxn id="293" idx="6"/>
            <a:endCxn id="299" idx="2"/>
          </p:cNvCxnSpPr>
          <p:nvPr/>
        </p:nvCxnSpPr>
        <p:spPr>
          <a:xfrm>
            <a:off x="4730697" y="3647049"/>
            <a:ext cx="756000" cy="11922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0" name="Google Shape;310;p33"/>
          <p:cNvCxnSpPr>
            <a:endCxn id="297" idx="2"/>
          </p:cNvCxnSpPr>
          <p:nvPr/>
        </p:nvCxnSpPr>
        <p:spPr>
          <a:xfrm rot="10800000" flipH="1">
            <a:off x="4726957" y="3210953"/>
            <a:ext cx="759825" cy="12213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1" name="Google Shape;311;p33"/>
          <p:cNvCxnSpPr>
            <a:stCxn id="294" idx="6"/>
          </p:cNvCxnSpPr>
          <p:nvPr/>
        </p:nvCxnSpPr>
        <p:spPr>
          <a:xfrm rot="10800000" flipH="1">
            <a:off x="4730697" y="4021086"/>
            <a:ext cx="756000" cy="4401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2" name="Google Shape;312;p33"/>
          <p:cNvCxnSpPr>
            <a:stCxn id="294" idx="6"/>
            <a:endCxn id="299" idx="2"/>
          </p:cNvCxnSpPr>
          <p:nvPr/>
        </p:nvCxnSpPr>
        <p:spPr>
          <a:xfrm>
            <a:off x="4730697" y="4461186"/>
            <a:ext cx="756000" cy="378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3" name="Google Shape;313;p33"/>
          <p:cNvCxnSpPr>
            <a:stCxn id="296" idx="6"/>
            <a:endCxn id="297" idx="2"/>
          </p:cNvCxnSpPr>
          <p:nvPr/>
        </p:nvCxnSpPr>
        <p:spPr>
          <a:xfrm rot="10800000" flipH="1">
            <a:off x="4730697" y="3210949"/>
            <a:ext cx="756000" cy="206437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4" name="Google Shape;314;p33"/>
          <p:cNvCxnSpPr>
            <a:stCxn id="296" idx="6"/>
            <a:endCxn id="298" idx="2"/>
          </p:cNvCxnSpPr>
          <p:nvPr/>
        </p:nvCxnSpPr>
        <p:spPr>
          <a:xfrm rot="10800000" flipH="1">
            <a:off x="4730697" y="4024999"/>
            <a:ext cx="756000" cy="1250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5" name="Google Shape;315;p33"/>
          <p:cNvCxnSpPr>
            <a:stCxn id="296" idx="6"/>
            <a:endCxn id="299" idx="2"/>
          </p:cNvCxnSpPr>
          <p:nvPr/>
        </p:nvCxnSpPr>
        <p:spPr>
          <a:xfrm rot="10800000" flipH="1">
            <a:off x="4730697" y="4839273"/>
            <a:ext cx="756000" cy="436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6" name="Google Shape;316;p33"/>
          <p:cNvCxnSpPr>
            <a:stCxn id="297" idx="6"/>
            <a:endCxn id="300" idx="2"/>
          </p:cNvCxnSpPr>
          <p:nvPr/>
        </p:nvCxnSpPr>
        <p:spPr>
          <a:xfrm>
            <a:off x="6134853" y="3210953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7" name="Google Shape;317;p33"/>
          <p:cNvCxnSpPr>
            <a:stCxn id="297" idx="6"/>
            <a:endCxn id="301" idx="2"/>
          </p:cNvCxnSpPr>
          <p:nvPr/>
        </p:nvCxnSpPr>
        <p:spPr>
          <a:xfrm>
            <a:off x="6134853" y="3210953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8" name="Google Shape;318;p33"/>
          <p:cNvCxnSpPr>
            <a:stCxn id="297" idx="6"/>
            <a:endCxn id="302" idx="2"/>
          </p:cNvCxnSpPr>
          <p:nvPr/>
        </p:nvCxnSpPr>
        <p:spPr>
          <a:xfrm>
            <a:off x="6134853" y="3210954"/>
            <a:ext cx="756000" cy="1628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9" name="Google Shape;319;p33"/>
          <p:cNvCxnSpPr>
            <a:stCxn id="298" idx="6"/>
            <a:endCxn id="300" idx="2"/>
          </p:cNvCxnSpPr>
          <p:nvPr/>
        </p:nvCxnSpPr>
        <p:spPr>
          <a:xfrm rot="10800000" flipH="1">
            <a:off x="6134853" y="3211040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0" name="Google Shape;320;p33"/>
          <p:cNvCxnSpPr>
            <a:stCxn id="298" idx="6"/>
            <a:endCxn id="301" idx="2"/>
          </p:cNvCxnSpPr>
          <p:nvPr/>
        </p:nvCxnSpPr>
        <p:spPr>
          <a:xfrm>
            <a:off x="6134853" y="4025090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1" name="Google Shape;321;p33"/>
          <p:cNvCxnSpPr>
            <a:stCxn id="298" idx="6"/>
          </p:cNvCxnSpPr>
          <p:nvPr/>
        </p:nvCxnSpPr>
        <p:spPr>
          <a:xfrm>
            <a:off x="6134853" y="4025090"/>
            <a:ext cx="756000" cy="81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2" name="Google Shape;322;p33"/>
          <p:cNvCxnSpPr>
            <a:stCxn id="299" idx="6"/>
            <a:endCxn id="300" idx="2"/>
          </p:cNvCxnSpPr>
          <p:nvPr/>
        </p:nvCxnSpPr>
        <p:spPr>
          <a:xfrm rot="10800000" flipH="1">
            <a:off x="6134853" y="3210903"/>
            <a:ext cx="756000" cy="162832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3" name="Google Shape;323;p33"/>
          <p:cNvCxnSpPr/>
          <p:nvPr/>
        </p:nvCxnSpPr>
        <p:spPr>
          <a:xfrm rot="10800000" flipH="1">
            <a:off x="6134853" y="4021044"/>
            <a:ext cx="756084" cy="818185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4" name="Google Shape;324;p33"/>
          <p:cNvCxnSpPr>
            <a:stCxn id="299" idx="6"/>
            <a:endCxn id="302" idx="2"/>
          </p:cNvCxnSpPr>
          <p:nvPr/>
        </p:nvCxnSpPr>
        <p:spPr>
          <a:xfrm>
            <a:off x="6134853" y="4839227"/>
            <a:ext cx="756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5" name="Google Shape;325;p33"/>
          <p:cNvCxnSpPr>
            <a:stCxn id="300" idx="6"/>
            <a:endCxn id="303" idx="2"/>
          </p:cNvCxnSpPr>
          <p:nvPr/>
        </p:nvCxnSpPr>
        <p:spPr>
          <a:xfrm>
            <a:off x="7539010" y="3210953"/>
            <a:ext cx="759825" cy="810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6" name="Google Shape;326;p33"/>
          <p:cNvCxnSpPr>
            <a:stCxn id="301" idx="6"/>
          </p:cNvCxnSpPr>
          <p:nvPr/>
        </p:nvCxnSpPr>
        <p:spPr>
          <a:xfrm rot="10800000" flipH="1">
            <a:off x="7539010" y="4021040"/>
            <a:ext cx="759825" cy="405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7" name="Google Shape;327;p33"/>
          <p:cNvCxnSpPr>
            <a:stCxn id="302" idx="6"/>
            <a:endCxn id="303" idx="2"/>
          </p:cNvCxnSpPr>
          <p:nvPr/>
        </p:nvCxnSpPr>
        <p:spPr>
          <a:xfrm rot="10800000" flipH="1">
            <a:off x="7539010" y="4021127"/>
            <a:ext cx="759825" cy="8181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28" name="Google Shape;328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58720" y="3429001"/>
            <a:ext cx="1572766" cy="1179575"/>
          </a:xfrm>
          <a:prstGeom prst="rect">
            <a:avLst/>
          </a:prstGeom>
          <a:noFill/>
          <a:ln>
            <a:noFill/>
          </a:ln>
        </p:spPr>
      </p:pic>
      <p:sp>
        <p:nvSpPr>
          <p:cNvPr id="329" name="Google Shape;329;p33"/>
          <p:cNvSpPr txBox="1"/>
          <p:nvPr/>
        </p:nvSpPr>
        <p:spPr>
          <a:xfrm>
            <a:off x="3754887" y="2072780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ildinformation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33"/>
          <p:cNvSpPr txBox="1"/>
          <p:nvPr/>
        </p:nvSpPr>
        <p:spPr>
          <a:xfrm>
            <a:off x="5209347" y="2508876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iche, Züge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33"/>
          <p:cNvSpPr txBox="1"/>
          <p:nvPr/>
        </p:nvSpPr>
        <p:spPr>
          <a:xfrm>
            <a:off x="6876088" y="2503368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men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p33"/>
          <p:cNvSpPr txBox="1"/>
          <p:nvPr/>
        </p:nvSpPr>
        <p:spPr>
          <a:xfrm>
            <a:off x="9098303" y="3880289"/>
            <a:ext cx="130354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35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atze</a:t>
            </a:r>
            <a:endParaRPr sz="135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3618FF-5F86-C841-B62E-4E5BA601E1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BB499B2-38C7-7043-A7CD-933C75E8C8F4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22B08C-AF1F-1849-8C71-FB652A22B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333" name="Google Shape;333;p3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rtlCol="0" anchor="t" anchorCtr="0">
            <a:noAutofit/>
          </a:bodyPr>
          <a:lstStyle/>
          <a:p>
            <a:r>
              <a:rPr lang="en-US" dirty="0" err="1"/>
              <a:t>Neuronales</a:t>
            </a:r>
            <a:r>
              <a:rPr lang="en-US" dirty="0"/>
              <a:t> </a:t>
            </a:r>
            <a:r>
              <a:rPr lang="en-US" dirty="0" err="1"/>
              <a:t>Netzwerk</a:t>
            </a:r>
            <a:r>
              <a:rPr lang="en-US" dirty="0"/>
              <a:t> – </a:t>
            </a:r>
            <a:r>
              <a:rPr lang="en-US" dirty="0" err="1"/>
              <a:t>Abstraktion</a:t>
            </a:r>
            <a:endParaRPr dirty="0"/>
          </a:p>
        </p:txBody>
      </p:sp>
      <p:pic>
        <p:nvPicPr>
          <p:cNvPr id="46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245489D1-52CB-C747-AB94-99CB6C3F07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47" name="Grafik 14">
            <a:extLst>
              <a:ext uri="{FF2B5EF4-FFF2-40B4-BE49-F238E27FC236}">
                <a16:creationId xmlns:a16="http://schemas.microsoft.com/office/drawing/2014/main" id="{3ADDD1FE-AAE7-FE44-94D1-6B57524389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483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0F2A2-0A7A-8149-A624-73A5CA8573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9529C1-FFE4-0F4F-8105-8AD1258C1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DF87FA-72EA-0745-80BA-D3C968162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https://www.slideshare.net/akshaymuroor/deep-learning-24650492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6695CD-12C5-7640-B284-1F522FAA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635BD0-C81E-5F41-B03C-E1D63300A02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12C24B-B1E2-984E-9F8A-BD06CF031C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0359-6061-E54C-AC5C-4F0E6AE49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Neuronales Netzwerk - Abstraktion</a:t>
            </a:r>
          </a:p>
        </p:txBody>
      </p:sp>
      <p:pic>
        <p:nvPicPr>
          <p:cNvPr id="11268" name="Picture 4" descr="Why convolutional neural networks belong to deep learning? - Cross Validated">
            <a:extLst>
              <a:ext uri="{FF2B5EF4-FFF2-40B4-BE49-F238E27FC236}">
                <a16:creationId xmlns:a16="http://schemas.microsoft.com/office/drawing/2014/main" id="{A6ED26FA-3E59-8B47-A74E-828F872C4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498" y="1407076"/>
            <a:ext cx="9105900" cy="499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7E695CD2-2338-BC45-8CED-6E1071EC99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88F89BC3-9E73-2E41-A210-3428E7492E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189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1E80B16-CA71-0B4F-90E8-36D79E041A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147E8B-A19E-744E-A024-CFC5D16C7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1399CE-39AB-DA41-892C-1350EAF96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https://</a:t>
            </a:r>
            <a:r>
              <a:rPr lang="de-DE" dirty="0" err="1"/>
              <a:t>livebook.manning.com</a:t>
            </a:r>
            <a:r>
              <a:rPr lang="de-DE" dirty="0"/>
              <a:t>/</a:t>
            </a:r>
            <a:r>
              <a:rPr lang="de-DE" dirty="0" err="1"/>
              <a:t>book</a:t>
            </a:r>
            <a:r>
              <a:rPr lang="de-DE" dirty="0"/>
              <a:t>/</a:t>
            </a:r>
            <a:r>
              <a:rPr lang="de-DE" dirty="0" err="1"/>
              <a:t>probabilistic-deep-learning-with-python</a:t>
            </a:r>
            <a:r>
              <a:rPr lang="de-DE" dirty="0"/>
              <a:t>/chapter-2/v-5/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0BA23C-C418-9544-9DEC-E053FA8AB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FCE539-738F-0C4A-90C7-AEAD76C5400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EC23E6E-B5BA-E849-9B79-86C8DB25AFE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14233F-7E2E-4E46-B0D7-5C7B1BEA0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ully Connected Neural Networ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3152AD-FAC2-0544-BCD3-1BCD620C37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776" y="1484784"/>
            <a:ext cx="8839200" cy="4724400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EB21C70-3429-394F-ACBC-CD84A2F946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B21C066E-7945-8148-825F-14E4800D4D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573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B67BA9-D37E-424F-A4CE-1FA31E7BC0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1" name="Date Placeholder 3">
            <a:extLst>
              <a:ext uri="{FF2B5EF4-FFF2-40B4-BE49-F238E27FC236}">
                <a16:creationId xmlns:a16="http://schemas.microsoft.com/office/drawing/2014/main" id="{20F56F57-AD94-4390-BED5-C0BA49416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3A20BD-2880-1042-AB31-327BD92F4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8C395C-3DDB-5444-9B30-121833AA9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F917A1B8-50AA-FB47-899D-D5743BAA133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3D47C6F-A956-8D40-BD62-2B6A3DCB7FEE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FDA75C5-209E-BA4D-AA57-6FE49C7433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9F80F-9BD6-CE4D-9481-326203B0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CH" dirty="0"/>
              <a:t>Lokalität ist wichtig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E3577271-3004-9042-9A99-39CBA88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79576" y="1733848"/>
            <a:ext cx="7906372" cy="5040312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ED303A7C-4929-2748-BD8A-876418911F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5043A56A-31CF-334C-9CDF-2D321B71F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265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C160C90-7039-C24C-AF27-F1110AA75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04253-60F2-A343-996D-C7D3564D76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C623479-760F-DF49-B9F1-26EF1C5B1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B2F2A8-BD54-8840-8911-143605640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E16060-CD76-0D47-B2BD-3D13CF4FA2B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ACE8E16-09E7-5142-879E-67D68667EC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CC6C6-E797-8046-8C87-A843D519A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H" dirty="0"/>
              <a:t>Lokalität ist wichtig - Convolution (Faltung)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E11F3922-E10F-9144-94D6-73B1A74837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0052" y="2127006"/>
            <a:ext cx="8791897" cy="2603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B1311E3-5D7F-F544-AB42-2BD8A7A5D0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78AB1927-A86C-204B-B429-0D888D7412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10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D9601-AEDE-A041-9123-8F94565FA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2F14E-592D-B94E-8878-E15904A67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E0ACAB19-8588-CC4B-9FCA-2B5BF1316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171768-3EF1-B944-B010-0E66118DA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8DAC37-A066-D14A-B6F0-051C47DCAD8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74EA0BF-CFC3-2A4B-8F6E-AF357FBF49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9C9EC8-5878-FD4A-9D6D-A65A052E8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Mit Variation umgehen</a:t>
            </a: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18F6EBBA-62C6-E14B-85AC-525AFA86CCF8}"/>
              </a:ext>
            </a:extLst>
          </p:cNvPr>
          <p:cNvSpPr/>
          <p:nvPr/>
        </p:nvSpPr>
        <p:spPr>
          <a:xfrm>
            <a:off x="1842435" y="1670304"/>
            <a:ext cx="8144255" cy="35173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65AEDB05-F596-A84D-B634-A6C306A479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03811107-FDCA-7D4D-8F85-71214C727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0406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8D8E4-57E1-024E-9074-1C55C47E20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2F14E-592D-B94E-8878-E15904A67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FE7C54A9-673A-9742-A57A-A65E5E2C5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171768-3EF1-B944-B010-0E66118DA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2E57A2-FADA-444E-A742-DEE147EF204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F99A8B1-B3DC-3547-9818-FA8659C19A1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9C9EC8-5878-FD4A-9D6D-A65A052E8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Mit Variation umgehen</a:t>
            </a:r>
          </a:p>
        </p:txBody>
      </p:sp>
      <p:grpSp>
        <p:nvGrpSpPr>
          <p:cNvPr id="8" name="object 2">
            <a:extLst>
              <a:ext uri="{FF2B5EF4-FFF2-40B4-BE49-F238E27FC236}">
                <a16:creationId xmlns:a16="http://schemas.microsoft.com/office/drawing/2014/main" id="{4990A730-9F7B-2D43-8244-A6BC3779BB2E}"/>
              </a:ext>
            </a:extLst>
          </p:cNvPr>
          <p:cNvGrpSpPr/>
          <p:nvPr/>
        </p:nvGrpSpPr>
        <p:grpSpPr>
          <a:xfrm>
            <a:off x="1919536" y="1844824"/>
            <a:ext cx="8038090" cy="4024225"/>
            <a:chOff x="1402080" y="1371297"/>
            <a:chExt cx="9360535" cy="46863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4936DD94-C7D1-E74B-A2DF-B11EF357FAFC}"/>
                </a:ext>
              </a:extLst>
            </p:cNvPr>
            <p:cNvSpPr/>
            <p:nvPr/>
          </p:nvSpPr>
          <p:spPr>
            <a:xfrm>
              <a:off x="1402080" y="2081783"/>
              <a:ext cx="9360408" cy="316077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07B192CF-8F2B-3D49-96A6-F5A31033E1A3}"/>
                </a:ext>
              </a:extLst>
            </p:cNvPr>
            <p:cNvSpPr/>
            <p:nvPr/>
          </p:nvSpPr>
          <p:spPr>
            <a:xfrm>
              <a:off x="3598849" y="3163417"/>
              <a:ext cx="2084705" cy="458470"/>
            </a:xfrm>
            <a:custGeom>
              <a:avLst/>
              <a:gdLst/>
              <a:ahLst/>
              <a:cxnLst/>
              <a:rect l="l" t="t" r="r" b="b"/>
              <a:pathLst>
                <a:path w="2084704" h="458470">
                  <a:moveTo>
                    <a:pt x="0" y="0"/>
                  </a:moveTo>
                  <a:lnTo>
                    <a:pt x="2084471" y="458225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C84D2510-3583-7E41-84BF-6F5CB382D1E0}"/>
                </a:ext>
              </a:extLst>
            </p:cNvPr>
            <p:cNvSpPr/>
            <p:nvPr/>
          </p:nvSpPr>
          <p:spPr>
            <a:xfrm>
              <a:off x="3598849" y="3621644"/>
              <a:ext cx="2084705" cy="577850"/>
            </a:xfrm>
            <a:custGeom>
              <a:avLst/>
              <a:gdLst/>
              <a:ahLst/>
              <a:cxnLst/>
              <a:rect l="l" t="t" r="r" b="b"/>
              <a:pathLst>
                <a:path w="2084704" h="577850">
                  <a:moveTo>
                    <a:pt x="0" y="577610"/>
                  </a:moveTo>
                  <a:lnTo>
                    <a:pt x="2084471" y="0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CE834D0E-0F93-A142-A29C-DA375071662F}"/>
                </a:ext>
              </a:extLst>
            </p:cNvPr>
            <p:cNvSpPr/>
            <p:nvPr/>
          </p:nvSpPr>
          <p:spPr>
            <a:xfrm>
              <a:off x="6487622" y="3175876"/>
              <a:ext cx="2084705" cy="458470"/>
            </a:xfrm>
            <a:custGeom>
              <a:avLst/>
              <a:gdLst/>
              <a:ahLst/>
              <a:cxnLst/>
              <a:rect l="l" t="t" r="r" b="b"/>
              <a:pathLst>
                <a:path w="2084704" h="458470">
                  <a:moveTo>
                    <a:pt x="2084471" y="0"/>
                  </a:moveTo>
                  <a:lnTo>
                    <a:pt x="0" y="458225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0BE4F54D-FC82-8244-8BA3-B6E0C4DC938A}"/>
                </a:ext>
              </a:extLst>
            </p:cNvPr>
            <p:cNvSpPr/>
            <p:nvPr/>
          </p:nvSpPr>
          <p:spPr>
            <a:xfrm>
              <a:off x="6487622" y="3634103"/>
              <a:ext cx="2084705" cy="577850"/>
            </a:xfrm>
            <a:custGeom>
              <a:avLst/>
              <a:gdLst/>
              <a:ahLst/>
              <a:cxnLst/>
              <a:rect l="l" t="t" r="r" b="b"/>
              <a:pathLst>
                <a:path w="2084704" h="577850">
                  <a:moveTo>
                    <a:pt x="2084471" y="577610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FF7F4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5A9A52FB-962E-CD43-8814-2EB02ECFFFA5}"/>
                </a:ext>
              </a:extLst>
            </p:cNvPr>
            <p:cNvSpPr/>
            <p:nvPr/>
          </p:nvSpPr>
          <p:spPr>
            <a:xfrm>
              <a:off x="2412238" y="4211713"/>
              <a:ext cx="3060065" cy="1730375"/>
            </a:xfrm>
            <a:custGeom>
              <a:avLst/>
              <a:gdLst/>
              <a:ahLst/>
              <a:cxnLst/>
              <a:rect l="l" t="t" r="r" b="b"/>
              <a:pathLst>
                <a:path w="3060065" h="1730375">
                  <a:moveTo>
                    <a:pt x="0" y="0"/>
                  </a:moveTo>
                  <a:lnTo>
                    <a:pt x="3059641" y="172976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04126678-9FEF-6649-AD61-AEF725E840D7}"/>
                </a:ext>
              </a:extLst>
            </p:cNvPr>
            <p:cNvSpPr/>
            <p:nvPr/>
          </p:nvSpPr>
          <p:spPr>
            <a:xfrm>
              <a:off x="1810804" y="4924259"/>
              <a:ext cx="3670935" cy="1028700"/>
            </a:xfrm>
            <a:custGeom>
              <a:avLst/>
              <a:gdLst/>
              <a:ahLst/>
              <a:cxnLst/>
              <a:rect l="l" t="t" r="r" b="b"/>
              <a:pathLst>
                <a:path w="3670935" h="1028700">
                  <a:moveTo>
                    <a:pt x="0" y="0"/>
                  </a:moveTo>
                  <a:lnTo>
                    <a:pt x="3670402" y="102815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9CE35A1C-733C-BE44-9A14-B3A00A80D9C3}"/>
                </a:ext>
              </a:extLst>
            </p:cNvPr>
            <p:cNvSpPr/>
            <p:nvPr/>
          </p:nvSpPr>
          <p:spPr>
            <a:xfrm>
              <a:off x="6632223" y="4211713"/>
              <a:ext cx="1601470" cy="1708150"/>
            </a:xfrm>
            <a:custGeom>
              <a:avLst/>
              <a:gdLst/>
              <a:ahLst/>
              <a:cxnLst/>
              <a:rect l="l" t="t" r="r" b="b"/>
              <a:pathLst>
                <a:path w="1601470" h="1708150">
                  <a:moveTo>
                    <a:pt x="1600970" y="0"/>
                  </a:moveTo>
                  <a:lnTo>
                    <a:pt x="0" y="1707680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163F5AC6-4E97-5F4F-980A-E948A79814CC}"/>
                </a:ext>
              </a:extLst>
            </p:cNvPr>
            <p:cNvSpPr/>
            <p:nvPr/>
          </p:nvSpPr>
          <p:spPr>
            <a:xfrm>
              <a:off x="6641540" y="4924259"/>
              <a:ext cx="2274570" cy="995680"/>
            </a:xfrm>
            <a:custGeom>
              <a:avLst/>
              <a:gdLst/>
              <a:ahLst/>
              <a:cxnLst/>
              <a:rect l="l" t="t" r="r" b="b"/>
              <a:pathLst>
                <a:path w="2274570" h="995679">
                  <a:moveTo>
                    <a:pt x="2273961" y="0"/>
                  </a:moveTo>
                  <a:lnTo>
                    <a:pt x="0" y="995123"/>
                  </a:lnTo>
                </a:path>
              </a:pathLst>
            </a:custGeom>
            <a:ln w="28575">
              <a:solidFill>
                <a:srgbClr val="9755C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C5AC6212-EB46-1B47-BDE0-9E9677F4696C}"/>
                </a:ext>
              </a:extLst>
            </p:cNvPr>
            <p:cNvSpPr/>
            <p:nvPr/>
          </p:nvSpPr>
          <p:spPr>
            <a:xfrm>
              <a:off x="6363736" y="1475625"/>
              <a:ext cx="1497965" cy="2071370"/>
            </a:xfrm>
            <a:custGeom>
              <a:avLst/>
              <a:gdLst/>
              <a:ahLst/>
              <a:cxnLst/>
              <a:rect l="l" t="t" r="r" b="b"/>
              <a:pathLst>
                <a:path w="1497965" h="2071370">
                  <a:moveTo>
                    <a:pt x="1497360" y="2071091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3">
              <a:extLst>
                <a:ext uri="{FF2B5EF4-FFF2-40B4-BE49-F238E27FC236}">
                  <a16:creationId xmlns:a16="http://schemas.microsoft.com/office/drawing/2014/main" id="{9EE3F765-DE80-D841-B816-5A64162C0502}"/>
                </a:ext>
              </a:extLst>
            </p:cNvPr>
            <p:cNvSpPr/>
            <p:nvPr/>
          </p:nvSpPr>
          <p:spPr>
            <a:xfrm>
              <a:off x="6363726" y="1475626"/>
              <a:ext cx="2197100" cy="1336040"/>
            </a:xfrm>
            <a:custGeom>
              <a:avLst/>
              <a:gdLst/>
              <a:ahLst/>
              <a:cxnLst/>
              <a:rect l="l" t="t" r="r" b="b"/>
              <a:pathLst>
                <a:path w="2197100" h="1336039">
                  <a:moveTo>
                    <a:pt x="2196861" y="1335950"/>
                  </a:moveTo>
                  <a:lnTo>
                    <a:pt x="0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4">
              <a:extLst>
                <a:ext uri="{FF2B5EF4-FFF2-40B4-BE49-F238E27FC236}">
                  <a16:creationId xmlns:a16="http://schemas.microsoft.com/office/drawing/2014/main" id="{C426532E-7778-9745-A235-AF235B6C7CA4}"/>
                </a:ext>
              </a:extLst>
            </p:cNvPr>
            <p:cNvSpPr/>
            <p:nvPr/>
          </p:nvSpPr>
          <p:spPr>
            <a:xfrm>
              <a:off x="2483675" y="1529826"/>
              <a:ext cx="3199765" cy="1638300"/>
            </a:xfrm>
            <a:custGeom>
              <a:avLst/>
              <a:gdLst/>
              <a:ahLst/>
              <a:cxnLst/>
              <a:rect l="l" t="t" r="r" b="b"/>
              <a:pathLst>
                <a:path w="3199765" h="1638300">
                  <a:moveTo>
                    <a:pt x="0" y="1638010"/>
                  </a:moveTo>
                  <a:lnTo>
                    <a:pt x="3199641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5">
              <a:extLst>
                <a:ext uri="{FF2B5EF4-FFF2-40B4-BE49-F238E27FC236}">
                  <a16:creationId xmlns:a16="http://schemas.microsoft.com/office/drawing/2014/main" id="{40BB9761-BC4E-D747-8C63-9BF06DA9904D}"/>
                </a:ext>
              </a:extLst>
            </p:cNvPr>
            <p:cNvSpPr/>
            <p:nvPr/>
          </p:nvSpPr>
          <p:spPr>
            <a:xfrm>
              <a:off x="1758315" y="1517360"/>
              <a:ext cx="3933825" cy="948690"/>
            </a:xfrm>
            <a:custGeom>
              <a:avLst/>
              <a:gdLst/>
              <a:ahLst/>
              <a:cxnLst/>
              <a:rect l="l" t="t" r="r" b="b"/>
              <a:pathLst>
                <a:path w="3933825" h="948689">
                  <a:moveTo>
                    <a:pt x="0" y="948331"/>
                  </a:moveTo>
                  <a:lnTo>
                    <a:pt x="3933262" y="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6">
              <a:extLst>
                <a:ext uri="{FF2B5EF4-FFF2-40B4-BE49-F238E27FC236}">
                  <a16:creationId xmlns:a16="http://schemas.microsoft.com/office/drawing/2014/main" id="{0602FFF0-E1A8-4344-8B3D-204048E9623D}"/>
                </a:ext>
              </a:extLst>
            </p:cNvPr>
            <p:cNvSpPr/>
            <p:nvPr/>
          </p:nvSpPr>
          <p:spPr>
            <a:xfrm>
              <a:off x="5836564" y="1377644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03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03" y="218884"/>
                  </a:lnTo>
                  <a:lnTo>
                    <a:pt x="386803" y="131330"/>
                  </a:lnTo>
                  <a:close/>
                </a:path>
                <a:path w="387350" h="219075">
                  <a:moveTo>
                    <a:pt x="386803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03" y="87553"/>
                  </a:lnTo>
                  <a:lnTo>
                    <a:pt x="386803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7">
              <a:extLst>
                <a:ext uri="{FF2B5EF4-FFF2-40B4-BE49-F238E27FC236}">
                  <a16:creationId xmlns:a16="http://schemas.microsoft.com/office/drawing/2014/main" id="{33893592-44A2-2D42-8393-87FD9E25E1FF}"/>
                </a:ext>
              </a:extLst>
            </p:cNvPr>
            <p:cNvSpPr/>
            <p:nvPr/>
          </p:nvSpPr>
          <p:spPr>
            <a:xfrm>
              <a:off x="5836570" y="1377647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8">
              <a:extLst>
                <a:ext uri="{FF2B5EF4-FFF2-40B4-BE49-F238E27FC236}">
                  <a16:creationId xmlns:a16="http://schemas.microsoft.com/office/drawing/2014/main" id="{875AABC7-9D75-D74F-BA09-70FDE5ABFA60}"/>
                </a:ext>
              </a:extLst>
            </p:cNvPr>
            <p:cNvSpPr/>
            <p:nvPr/>
          </p:nvSpPr>
          <p:spPr>
            <a:xfrm>
              <a:off x="5834634" y="3524656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16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16" y="218884"/>
                  </a:lnTo>
                  <a:lnTo>
                    <a:pt x="386816" y="131330"/>
                  </a:lnTo>
                  <a:close/>
                </a:path>
                <a:path w="387350" h="219075">
                  <a:moveTo>
                    <a:pt x="386816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16" y="87553"/>
                  </a:lnTo>
                  <a:lnTo>
                    <a:pt x="38681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9">
              <a:extLst>
                <a:ext uri="{FF2B5EF4-FFF2-40B4-BE49-F238E27FC236}">
                  <a16:creationId xmlns:a16="http://schemas.microsoft.com/office/drawing/2014/main" id="{B4353BEB-C0C5-2A47-8DEE-CB105D7AACB3}"/>
                </a:ext>
              </a:extLst>
            </p:cNvPr>
            <p:cNvSpPr/>
            <p:nvPr/>
          </p:nvSpPr>
          <p:spPr>
            <a:xfrm>
              <a:off x="5834639" y="3524658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0">
              <a:extLst>
                <a:ext uri="{FF2B5EF4-FFF2-40B4-BE49-F238E27FC236}">
                  <a16:creationId xmlns:a16="http://schemas.microsoft.com/office/drawing/2014/main" id="{5CB1280E-2FA7-4D48-A6CA-B75845631F2F}"/>
                </a:ext>
              </a:extLst>
            </p:cNvPr>
            <p:cNvSpPr/>
            <p:nvPr/>
          </p:nvSpPr>
          <p:spPr>
            <a:xfrm>
              <a:off x="5834634" y="5832030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386816" y="131330"/>
                  </a:moveTo>
                  <a:lnTo>
                    <a:pt x="0" y="131330"/>
                  </a:lnTo>
                  <a:lnTo>
                    <a:pt x="0" y="218884"/>
                  </a:lnTo>
                  <a:lnTo>
                    <a:pt x="386816" y="218884"/>
                  </a:lnTo>
                  <a:lnTo>
                    <a:pt x="386816" y="131330"/>
                  </a:lnTo>
                  <a:close/>
                </a:path>
                <a:path w="387350" h="219075">
                  <a:moveTo>
                    <a:pt x="386816" y="0"/>
                  </a:moveTo>
                  <a:lnTo>
                    <a:pt x="0" y="0"/>
                  </a:lnTo>
                  <a:lnTo>
                    <a:pt x="0" y="87553"/>
                  </a:lnTo>
                  <a:lnTo>
                    <a:pt x="386816" y="87553"/>
                  </a:lnTo>
                  <a:lnTo>
                    <a:pt x="38681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1">
              <a:extLst>
                <a:ext uri="{FF2B5EF4-FFF2-40B4-BE49-F238E27FC236}">
                  <a16:creationId xmlns:a16="http://schemas.microsoft.com/office/drawing/2014/main" id="{31DC9D93-960A-594F-896A-A4CD19ED91DD}"/>
                </a:ext>
              </a:extLst>
            </p:cNvPr>
            <p:cNvSpPr/>
            <p:nvPr/>
          </p:nvSpPr>
          <p:spPr>
            <a:xfrm>
              <a:off x="5834639" y="5832020"/>
              <a:ext cx="387350" cy="219075"/>
            </a:xfrm>
            <a:custGeom>
              <a:avLst/>
              <a:gdLst/>
              <a:ahLst/>
              <a:cxnLst/>
              <a:rect l="l" t="t" r="r" b="b"/>
              <a:pathLst>
                <a:path w="387350" h="219075">
                  <a:moveTo>
                    <a:pt x="0" y="0"/>
                  </a:moveTo>
                  <a:lnTo>
                    <a:pt x="386808" y="0"/>
                  </a:lnTo>
                  <a:lnTo>
                    <a:pt x="386808" y="87554"/>
                  </a:lnTo>
                  <a:lnTo>
                    <a:pt x="0" y="87554"/>
                  </a:lnTo>
                  <a:lnTo>
                    <a:pt x="0" y="0"/>
                  </a:lnTo>
                  <a:close/>
                </a:path>
                <a:path w="387350" h="219075">
                  <a:moveTo>
                    <a:pt x="0" y="131331"/>
                  </a:moveTo>
                  <a:lnTo>
                    <a:pt x="386808" y="131331"/>
                  </a:lnTo>
                  <a:lnTo>
                    <a:pt x="386808" y="218886"/>
                  </a:lnTo>
                  <a:lnTo>
                    <a:pt x="0" y="218886"/>
                  </a:lnTo>
                  <a:lnTo>
                    <a:pt x="0" y="131331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9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8AF3F0EB-9A85-F742-82D8-0C64439D5E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30" name="Grafik 14">
            <a:extLst>
              <a:ext uri="{FF2B5EF4-FFF2-40B4-BE49-F238E27FC236}">
                <a16:creationId xmlns:a16="http://schemas.microsoft.com/office/drawing/2014/main" id="{530F80FC-5867-4346-9B0E-E53764E0D6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5770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C4BD96-E486-464E-9F93-C6CA05421B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D1B03-7844-EE4C-8DBB-DEE3FE05A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AAEBA9F-8084-7C45-A063-EB791B6F2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3CD814-3CB3-BF4D-A3FB-9850E395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700D0E3-E159-E74B-9040-51F92A9FBE4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047B7C0-124C-ED4C-AEDA-718770FA09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8FE3BC-7E7D-A546-BFAF-D496ED2CA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ilter </a:t>
            </a: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030D061A-9904-C648-B5E4-0976B7212922}"/>
              </a:ext>
            </a:extLst>
          </p:cNvPr>
          <p:cNvSpPr/>
          <p:nvPr/>
        </p:nvSpPr>
        <p:spPr>
          <a:xfrm>
            <a:off x="2462784" y="1221685"/>
            <a:ext cx="7266432" cy="45415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45E0C93-FC21-D143-B07E-62FC6C0586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9C343DBC-FB10-2A4E-8089-67287C9AF6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1929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17467F-DCB5-CA4B-83E4-A09A0BF3C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48D2E-5539-5C44-AC1A-804AB1354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AABBE4-FB7A-3247-880C-94851DCF4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C854A2F-9EC8-2D47-8E24-7EE8F1ABCDF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2760D75-3FD7-1A43-87A0-83FF92F087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1BC4B-4120-9648-9F3A-FA13D1BB6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volution (Faltung) Operation</a:t>
            </a:r>
          </a:p>
        </p:txBody>
      </p:sp>
      <p:grpSp>
        <p:nvGrpSpPr>
          <p:cNvPr id="9" name="object 6">
            <a:extLst>
              <a:ext uri="{FF2B5EF4-FFF2-40B4-BE49-F238E27FC236}">
                <a16:creationId xmlns:a16="http://schemas.microsoft.com/office/drawing/2014/main" id="{14081AE9-8A23-904A-B76B-EF9BD5497F5A}"/>
              </a:ext>
            </a:extLst>
          </p:cNvPr>
          <p:cNvGrpSpPr/>
          <p:nvPr/>
        </p:nvGrpSpPr>
        <p:grpSpPr>
          <a:xfrm>
            <a:off x="2927648" y="1620521"/>
            <a:ext cx="5501641" cy="4757928"/>
            <a:chOff x="655319" y="1225296"/>
            <a:chExt cx="5501641" cy="4757928"/>
          </a:xfrm>
        </p:grpSpPr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313C0C26-0D1A-6E4C-8D0D-6694CCD0552C}"/>
                </a:ext>
              </a:extLst>
            </p:cNvPr>
            <p:cNvSpPr/>
            <p:nvPr/>
          </p:nvSpPr>
          <p:spPr>
            <a:xfrm>
              <a:off x="2462784" y="2548128"/>
              <a:ext cx="3694176" cy="343509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C17F9C4C-669A-F949-9CB8-9ABB3ABF8731}"/>
                </a:ext>
              </a:extLst>
            </p:cNvPr>
            <p:cNvSpPr/>
            <p:nvPr/>
          </p:nvSpPr>
          <p:spPr>
            <a:xfrm>
              <a:off x="2005571" y="1338922"/>
              <a:ext cx="2132965" cy="1703070"/>
            </a:xfrm>
            <a:custGeom>
              <a:avLst/>
              <a:gdLst/>
              <a:ahLst/>
              <a:cxnLst/>
              <a:rect l="l" t="t" r="r" b="b"/>
              <a:pathLst>
                <a:path w="2132965" h="1703070">
                  <a:moveTo>
                    <a:pt x="0" y="0"/>
                  </a:moveTo>
                  <a:lnTo>
                    <a:pt x="2132461" y="170274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89B3320F-51F0-B544-9E72-809D58E81B94}"/>
                </a:ext>
              </a:extLst>
            </p:cNvPr>
            <p:cNvSpPr/>
            <p:nvPr/>
          </p:nvSpPr>
          <p:spPr>
            <a:xfrm>
              <a:off x="780539" y="2502509"/>
              <a:ext cx="2193290" cy="1637664"/>
            </a:xfrm>
            <a:custGeom>
              <a:avLst/>
              <a:gdLst/>
              <a:ahLst/>
              <a:cxnLst/>
              <a:rect l="l" t="t" r="r" b="b"/>
              <a:pathLst>
                <a:path w="2193290" h="1637664">
                  <a:moveTo>
                    <a:pt x="0" y="0"/>
                  </a:moveTo>
                  <a:lnTo>
                    <a:pt x="2193111" y="1637550"/>
                  </a:lnTo>
                </a:path>
              </a:pathLst>
            </a:custGeom>
            <a:ln w="28575">
              <a:solidFill>
                <a:srgbClr val="00837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0">
              <a:extLst>
                <a:ext uri="{FF2B5EF4-FFF2-40B4-BE49-F238E27FC236}">
                  <a16:creationId xmlns:a16="http://schemas.microsoft.com/office/drawing/2014/main" id="{29D1070D-1D26-A54F-95DE-BF73B35E1EA5}"/>
                </a:ext>
              </a:extLst>
            </p:cNvPr>
            <p:cNvSpPr/>
            <p:nvPr/>
          </p:nvSpPr>
          <p:spPr>
            <a:xfrm>
              <a:off x="655319" y="1225296"/>
              <a:ext cx="1557528" cy="142951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1F6D0920-8A3B-8A41-BDBA-7FE0F85E64D4}"/>
                </a:ext>
              </a:extLst>
            </p:cNvPr>
            <p:cNvSpPr/>
            <p:nvPr/>
          </p:nvSpPr>
          <p:spPr>
            <a:xfrm>
              <a:off x="2108580" y="1757927"/>
              <a:ext cx="1427480" cy="807720"/>
            </a:xfrm>
            <a:custGeom>
              <a:avLst/>
              <a:gdLst/>
              <a:ahLst/>
              <a:cxnLst/>
              <a:rect l="l" t="t" r="r" b="b"/>
              <a:pathLst>
                <a:path w="1427479" h="807719">
                  <a:moveTo>
                    <a:pt x="0" y="807231"/>
                  </a:moveTo>
                  <a:lnTo>
                    <a:pt x="1427070" y="0"/>
                  </a:lnTo>
                </a:path>
              </a:pathLst>
            </a:custGeom>
            <a:ln w="28575">
              <a:solidFill>
                <a:srgbClr val="E039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2">
              <a:extLst>
                <a:ext uri="{FF2B5EF4-FFF2-40B4-BE49-F238E27FC236}">
                  <a16:creationId xmlns:a16="http://schemas.microsoft.com/office/drawing/2014/main" id="{0442081D-58AC-E24D-A421-FC91FA3790AC}"/>
                </a:ext>
              </a:extLst>
            </p:cNvPr>
            <p:cNvSpPr/>
            <p:nvPr/>
          </p:nvSpPr>
          <p:spPr>
            <a:xfrm>
              <a:off x="1616252" y="1261366"/>
              <a:ext cx="1424940" cy="836294"/>
            </a:xfrm>
            <a:custGeom>
              <a:avLst/>
              <a:gdLst/>
              <a:ahLst/>
              <a:cxnLst/>
              <a:rect l="l" t="t" r="r" b="b"/>
              <a:pathLst>
                <a:path w="1424939" h="836294">
                  <a:moveTo>
                    <a:pt x="0" y="835886"/>
                  </a:moveTo>
                  <a:lnTo>
                    <a:pt x="1424510" y="0"/>
                  </a:lnTo>
                </a:path>
              </a:pathLst>
            </a:custGeom>
            <a:ln w="28575">
              <a:solidFill>
                <a:srgbClr val="E039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3">
              <a:extLst>
                <a:ext uri="{FF2B5EF4-FFF2-40B4-BE49-F238E27FC236}">
                  <a16:creationId xmlns:a16="http://schemas.microsoft.com/office/drawing/2014/main" id="{1135DBD2-4A41-3A40-AA17-4905152080FC}"/>
                </a:ext>
              </a:extLst>
            </p:cNvPr>
            <p:cNvSpPr/>
            <p:nvPr/>
          </p:nvSpPr>
          <p:spPr>
            <a:xfrm>
              <a:off x="4138028" y="1757917"/>
              <a:ext cx="314325" cy="1933575"/>
            </a:xfrm>
            <a:custGeom>
              <a:avLst/>
              <a:gdLst/>
              <a:ahLst/>
              <a:cxnLst/>
              <a:rect l="l" t="t" r="r" b="b"/>
              <a:pathLst>
                <a:path w="314325" h="1933575">
                  <a:moveTo>
                    <a:pt x="0" y="1933541"/>
                  </a:moveTo>
                  <a:lnTo>
                    <a:pt x="313723" y="0"/>
                  </a:lnTo>
                </a:path>
              </a:pathLst>
            </a:custGeom>
            <a:ln w="28575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4">
              <a:extLst>
                <a:ext uri="{FF2B5EF4-FFF2-40B4-BE49-F238E27FC236}">
                  <a16:creationId xmlns:a16="http://schemas.microsoft.com/office/drawing/2014/main" id="{113B5F99-70AB-5643-86D0-3759431CFABC}"/>
                </a:ext>
              </a:extLst>
            </p:cNvPr>
            <p:cNvSpPr/>
            <p:nvPr/>
          </p:nvSpPr>
          <p:spPr>
            <a:xfrm>
              <a:off x="3737025" y="1752187"/>
              <a:ext cx="260350" cy="1939289"/>
            </a:xfrm>
            <a:custGeom>
              <a:avLst/>
              <a:gdLst/>
              <a:ahLst/>
              <a:cxnLst/>
              <a:rect l="l" t="t" r="r" b="b"/>
              <a:pathLst>
                <a:path w="260350" h="1939289">
                  <a:moveTo>
                    <a:pt x="0" y="1939271"/>
                  </a:moveTo>
                  <a:lnTo>
                    <a:pt x="260259" y="0"/>
                  </a:lnTo>
                </a:path>
              </a:pathLst>
            </a:custGeom>
            <a:ln w="28575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5">
              <a:extLst>
                <a:ext uri="{FF2B5EF4-FFF2-40B4-BE49-F238E27FC236}">
                  <a16:creationId xmlns:a16="http://schemas.microsoft.com/office/drawing/2014/main" id="{B7406C63-58FD-924C-A499-510CCB9705F4}"/>
                </a:ext>
              </a:extLst>
            </p:cNvPr>
            <p:cNvSpPr/>
            <p:nvPr/>
          </p:nvSpPr>
          <p:spPr>
            <a:xfrm>
              <a:off x="3063722" y="1293444"/>
              <a:ext cx="455295" cy="455930"/>
            </a:xfrm>
            <a:custGeom>
              <a:avLst/>
              <a:gdLst/>
              <a:ahLst/>
              <a:cxnLst/>
              <a:rect l="l" t="t" r="r" b="b"/>
              <a:pathLst>
                <a:path w="455295" h="455930">
                  <a:moveTo>
                    <a:pt x="0" y="0"/>
                  </a:moveTo>
                  <a:lnTo>
                    <a:pt x="455281" y="0"/>
                  </a:lnTo>
                  <a:lnTo>
                    <a:pt x="455281" y="455334"/>
                  </a:lnTo>
                  <a:lnTo>
                    <a:pt x="0" y="455334"/>
                  </a:lnTo>
                  <a:lnTo>
                    <a:pt x="0" y="0"/>
                  </a:lnTo>
                  <a:close/>
                </a:path>
              </a:pathLst>
            </a:custGeom>
            <a:ln w="76200">
              <a:solidFill>
                <a:srgbClr val="DF3A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6">
              <a:extLst>
                <a:ext uri="{FF2B5EF4-FFF2-40B4-BE49-F238E27FC236}">
                  <a16:creationId xmlns:a16="http://schemas.microsoft.com/office/drawing/2014/main" id="{977AC9D7-C6BC-C14D-9A2A-BD4F7733308C}"/>
                </a:ext>
              </a:extLst>
            </p:cNvPr>
            <p:cNvSpPr/>
            <p:nvPr/>
          </p:nvSpPr>
          <p:spPr>
            <a:xfrm>
              <a:off x="3999852" y="1287703"/>
              <a:ext cx="455295" cy="455930"/>
            </a:xfrm>
            <a:custGeom>
              <a:avLst/>
              <a:gdLst/>
              <a:ahLst/>
              <a:cxnLst/>
              <a:rect l="l" t="t" r="r" b="b"/>
              <a:pathLst>
                <a:path w="455295" h="455930">
                  <a:moveTo>
                    <a:pt x="0" y="0"/>
                  </a:moveTo>
                  <a:lnTo>
                    <a:pt x="455281" y="0"/>
                  </a:lnTo>
                  <a:lnTo>
                    <a:pt x="455281" y="455334"/>
                  </a:lnTo>
                  <a:lnTo>
                    <a:pt x="0" y="455334"/>
                  </a:lnTo>
                  <a:lnTo>
                    <a:pt x="0" y="0"/>
                  </a:lnTo>
                  <a:close/>
                </a:path>
              </a:pathLst>
            </a:custGeom>
            <a:ln w="76200">
              <a:solidFill>
                <a:srgbClr val="FFC1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17">
            <a:extLst>
              <a:ext uri="{FF2B5EF4-FFF2-40B4-BE49-F238E27FC236}">
                <a16:creationId xmlns:a16="http://schemas.microsoft.com/office/drawing/2014/main" id="{CF396636-38F9-274F-808D-E122069C9341}"/>
              </a:ext>
            </a:extLst>
          </p:cNvPr>
          <p:cNvSpPr txBox="1"/>
          <p:nvPr/>
        </p:nvSpPr>
        <p:spPr>
          <a:xfrm>
            <a:off x="5481847" y="1674877"/>
            <a:ext cx="19221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948690" algn="l"/>
                <a:tab pos="1428750" algn="l"/>
              </a:tabLst>
            </a:pPr>
            <a:r>
              <a:rPr sz="3600" baseline="2314" dirty="0">
                <a:latin typeface="Carlito"/>
                <a:cs typeface="Carlito"/>
              </a:rPr>
              <a:t>1	1	</a:t>
            </a:r>
            <a:r>
              <a:rPr sz="2400" spc="-220" dirty="0">
                <a:latin typeface="DejaVu Sans"/>
                <a:cs typeface="DejaVu Sans"/>
              </a:rPr>
              <a:t>=</a:t>
            </a:r>
            <a:r>
              <a:rPr sz="2400" spc="-190" dirty="0">
                <a:latin typeface="DejaVu Sans"/>
                <a:cs typeface="DejaVu Sans"/>
              </a:rPr>
              <a:t> </a:t>
            </a:r>
            <a:r>
              <a:rPr sz="2400" spc="-200" dirty="0">
                <a:latin typeface="DejaVu Sans"/>
                <a:cs typeface="DejaVu Sans"/>
              </a:rPr>
              <a:t>1</a:t>
            </a:r>
            <a:endParaRPr sz="2400" dirty="0">
              <a:latin typeface="DejaVu Sans"/>
              <a:cs typeface="DejaVu Sans"/>
            </a:endParaRP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9999D6CF-CA0B-8646-BCCE-853C0595D7D9}"/>
              </a:ext>
            </a:extLst>
          </p:cNvPr>
          <p:cNvSpPr txBox="1"/>
          <p:nvPr/>
        </p:nvSpPr>
        <p:spPr>
          <a:xfrm>
            <a:off x="5950591" y="1734821"/>
            <a:ext cx="157480" cy="330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000" dirty="0">
                <a:latin typeface="Carlito"/>
                <a:cs typeface="Carlito"/>
              </a:rPr>
              <a:t>X</a:t>
            </a:r>
          </a:p>
        </p:txBody>
      </p:sp>
      <p:pic>
        <p:nvPicPr>
          <p:cNvPr id="23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8AE8025-0803-9F48-A6E6-AF55C48669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24" name="Grafik 14">
            <a:extLst>
              <a:ext uri="{FF2B5EF4-FFF2-40B4-BE49-F238E27FC236}">
                <a16:creationId xmlns:a16="http://schemas.microsoft.com/office/drawing/2014/main" id="{73B1835F-A59B-6F48-974B-C10EC1DF6C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140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B66065-107F-B74B-8E6D-493C1768F6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30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C39641-2452-974C-B9FA-74D005CCD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5960" y="2060848"/>
            <a:ext cx="5976664" cy="4104456"/>
          </a:xfrm>
        </p:spPr>
        <p:txBody>
          <a:bodyPr anchor="ctr"/>
          <a:lstStyle/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Azure AI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Custom Vision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Web Porta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ustom Vision SDK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>
                <a:solidFill>
                  <a:schemeClr val="accent6"/>
                </a:solidFill>
              </a:rPr>
              <a:t>Azure </a:t>
            </a:r>
            <a:r>
              <a:rPr lang="de-CH" b="1" dirty="0" err="1">
                <a:solidFill>
                  <a:schemeClr val="accent6"/>
                </a:solidFill>
              </a:rPr>
              <a:t>Machine</a:t>
            </a:r>
            <a:r>
              <a:rPr lang="de-CH" b="1" dirty="0">
                <a:solidFill>
                  <a:schemeClr val="accent6"/>
                </a:solidFill>
              </a:rPr>
              <a:t> Learning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Auto ML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Designer</a:t>
            </a:r>
          </a:p>
          <a:p>
            <a:pPr marL="714375" lvl="2" indent="-357188"/>
            <a:r>
              <a:rPr lang="de-CH" b="1" dirty="0">
                <a:solidFill>
                  <a:schemeClr val="accent6"/>
                </a:solidFill>
              </a:rPr>
              <a:t>Code</a:t>
            </a:r>
          </a:p>
          <a:p>
            <a:pPr marL="344700" lvl="1" indent="-342900">
              <a:buFont typeface="+mj-lt"/>
              <a:buAutoNum type="arabicPeriod"/>
            </a:pPr>
            <a:r>
              <a:rPr lang="de-CH" b="1" dirty="0" err="1">
                <a:solidFill>
                  <a:schemeClr val="accent6"/>
                </a:solidFill>
              </a:rPr>
              <a:t>MLOps</a:t>
            </a:r>
            <a:endParaRPr lang="de-CH" b="1" dirty="0">
              <a:solidFill>
                <a:schemeClr val="accent6"/>
              </a:solidFill>
            </a:endParaRP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FC20EE9D-905D-A240-8A74-0C0D7FF70D07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D07345FD-A2A2-4A4D-9843-EB8DAB1A6173}" type="datetime1">
              <a:t>31.10.21</a:t>
            </a:fld>
            <a:endParaRPr lang="x-none"/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245A6EE9-813A-4B41-9018-554FA55E3A8F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BC7319BA-87F7-244A-9B5E-21BF751332C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2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Agenda</a:t>
            </a:r>
          </a:p>
        </p:txBody>
      </p:sp>
      <p:pic>
        <p:nvPicPr>
          <p:cNvPr id="14" name="Bildplatzhalter 13" descr="Ein Bild, das Stern, Outdoorobjekt, Nachthimmel enthält.&#10;&#10;Automatisch generierte Beschreibung">
            <a:extLst>
              <a:ext uri="{FF2B5EF4-FFF2-40B4-BE49-F238E27FC236}">
                <a16:creationId xmlns:a16="http://schemas.microsoft.com/office/drawing/2014/main" id="{64B22711-B4E9-B441-97D5-2864052BF48D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6"/>
          <a:srcRect l="27956" r="27956"/>
          <a:stretch>
            <a:fillRect/>
          </a:stretch>
        </p:blipFill>
        <p:spPr>
          <a:xfrm>
            <a:off x="0" y="0"/>
            <a:ext cx="5375920" cy="6858000"/>
          </a:xfr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90CBE6E-537A-6B4E-91F6-9E06C0918A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  <p:pic>
        <p:nvPicPr>
          <p:cNvPr id="7228" name="Picture 60">
            <a:extLst>
              <a:ext uri="{FF2B5EF4-FFF2-40B4-BE49-F238E27FC236}">
                <a16:creationId xmlns:a16="http://schemas.microsoft.com/office/drawing/2014/main" id="{20D9485A-0B28-46BE-82B5-A90E94404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4281" y="2060848"/>
            <a:ext cx="3078343" cy="410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760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B19C27-CAA4-784A-ACA5-CF39D7FCD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CC5A3-CD8E-8341-83BC-365EEBC9E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35B1B4-AA3D-9440-B4D0-12E0912B9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Courtes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todeeplearnin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A0F3-949E-7743-A88D-84F0FB825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9294462-4CF3-A048-8C1D-07CAB7D5A9C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293ADF2-55F7-2049-8C4E-DD60DCB623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ECE6D0-10C7-A749-8404-AA8B2128C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ilter als Featur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6DB49CB-D67F-894A-B028-2616A13DF5FC}"/>
              </a:ext>
            </a:extLst>
          </p:cNvPr>
          <p:cNvSpPr txBox="1"/>
          <p:nvPr/>
        </p:nvSpPr>
        <p:spPr>
          <a:xfrm>
            <a:off x="2600245" y="4766564"/>
            <a:ext cx="9671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114" dirty="0"/>
              <a:t>Original</a:t>
            </a:r>
            <a:endParaRPr sz="24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01121D3A-64D4-EF4A-BB70-4DDD18940E5C}"/>
              </a:ext>
            </a:extLst>
          </p:cNvPr>
          <p:cNvSpPr txBox="1"/>
          <p:nvPr/>
        </p:nvSpPr>
        <p:spPr>
          <a:xfrm>
            <a:off x="5608281" y="4775707"/>
            <a:ext cx="100838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270" dirty="0"/>
              <a:t>Sha</a:t>
            </a:r>
            <a:r>
              <a:rPr sz="2400" spc="-90" dirty="0"/>
              <a:t>r</a:t>
            </a:r>
            <a:r>
              <a:rPr sz="2400" spc="-114" dirty="0"/>
              <a:t>p</a:t>
            </a:r>
            <a:r>
              <a:rPr sz="2400" spc="-190" dirty="0"/>
              <a:t>e</a:t>
            </a:r>
            <a:r>
              <a:rPr sz="2400" spc="-160" dirty="0"/>
              <a:t>n</a:t>
            </a:r>
            <a:endParaRPr sz="2400" dirty="0"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FB8D4503-FBBC-FF44-8D8D-7726A31D4703}"/>
              </a:ext>
            </a:extLst>
          </p:cNvPr>
          <p:cNvSpPr txBox="1"/>
          <p:nvPr/>
        </p:nvSpPr>
        <p:spPr>
          <a:xfrm>
            <a:off x="8148439" y="4780209"/>
            <a:ext cx="197049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de-CH" sz="2400" spc="-260" dirty="0"/>
              <a:t>Kantenerkennung</a:t>
            </a:r>
            <a:endParaRPr sz="2400" dirty="0"/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075A07AA-5CE4-A34B-B163-D25846792D87}"/>
              </a:ext>
            </a:extLst>
          </p:cNvPr>
          <p:cNvSpPr/>
          <p:nvPr/>
        </p:nvSpPr>
        <p:spPr>
          <a:xfrm>
            <a:off x="1722120" y="1807465"/>
            <a:ext cx="2721864" cy="28742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0C671143-FF33-284F-98F4-6629256BDAE0}"/>
              </a:ext>
            </a:extLst>
          </p:cNvPr>
          <p:cNvSpPr/>
          <p:nvPr/>
        </p:nvSpPr>
        <p:spPr>
          <a:xfrm>
            <a:off x="4754879" y="1856232"/>
            <a:ext cx="2712720" cy="2892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DBB35950-CAEB-7F4C-9105-EABC4FD45EAA}"/>
              </a:ext>
            </a:extLst>
          </p:cNvPr>
          <p:cNvSpPr/>
          <p:nvPr/>
        </p:nvSpPr>
        <p:spPr>
          <a:xfrm>
            <a:off x="7778496" y="1856232"/>
            <a:ext cx="2709672" cy="28925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E7338062-352D-1847-903E-E71C3DCC239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6" name="Grafik 14">
            <a:extLst>
              <a:ext uri="{FF2B5EF4-FFF2-40B4-BE49-F238E27FC236}">
                <a16:creationId xmlns:a16="http://schemas.microsoft.com/office/drawing/2014/main" id="{7388AE4A-C747-EB4B-8F2D-24927B4B3F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089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7695346-7440-6942-B74F-D9130A9D14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27752-28A8-9F41-8CF9-F5D46C7AAA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0A2AB0-5487-9E4E-AD7B-85482EBAC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27059-A362-EE4B-9250-43786A1C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E55F757-DD00-7545-A0AB-4E857306FED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E71640B-9734-B148-960F-E82C9AC991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54CB8A-BB7A-0E43-9092-1F8AAAAD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Pooling als Dimensionsreduktion</a:t>
            </a:r>
          </a:p>
        </p:txBody>
      </p: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923C6320-7DFC-A748-A014-FDA5D23EB3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568" y="1988840"/>
            <a:ext cx="7650660" cy="3404964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623F26A2-9EE8-7343-BEEB-7A6F4C358E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D0BA850E-74DE-A046-B360-EDD5A40B57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31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0637B-0FA5-864F-820C-D3680B6990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11DCF7-8B12-C94B-907A-B0860DA64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15274-D889-1D4E-BF49-0C081E912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E496E-1A4F-0549-A95C-C8248C7C3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EC56884-5476-CF4D-9862-6C31A7A5C6D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9A03459-D38F-B848-A345-E50A7E606E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73E60-0EB8-E847-B09F-668DBE936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onvolution Neural Network (CNN)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B0FEA15-01C2-2F4E-9F79-8D03FAE7E0EF}"/>
              </a:ext>
            </a:extLst>
          </p:cNvPr>
          <p:cNvSpPr/>
          <p:nvPr/>
        </p:nvSpPr>
        <p:spPr>
          <a:xfrm>
            <a:off x="1731264" y="2060848"/>
            <a:ext cx="8729472" cy="307848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5F57F0CE-2468-9D45-A8AE-B4716D55240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DD0FEF69-F3EE-ED4F-B71D-44D6C5BF87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47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83949-F687-0D44-A66D-75B55A981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52D736-F1DF-6946-997D-1729C2A80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A5E9-90D1-EB4F-AE95-B430E51A0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34FB0A-0D40-C14D-B5D4-2258A1949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D109B5E-09D6-F14D-83EE-52C71864E66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FD7C26-93DC-2A45-A787-C8F7CED1138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324017-840E-5E44-BF09-DFFBD55E7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CNN für Klassifikation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AB49D-F580-3948-8824-959D348CC26D}"/>
              </a:ext>
            </a:extLst>
          </p:cNvPr>
          <p:cNvSpPr/>
          <p:nvPr/>
        </p:nvSpPr>
        <p:spPr>
          <a:xfrm>
            <a:off x="2176809" y="2186948"/>
            <a:ext cx="7347001" cy="24841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0EE94E6D-7922-1048-AB8A-447A86033D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8F910C01-F605-C040-ACA7-859E109F62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4127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BC383-E820-114E-B574-7AE8F27B3A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9B657-36C8-314E-B93A-3A38F803E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fld id="{F917A1B8-50AA-FB47-899D-D5743BAA133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9580BA-CDB1-A545-9669-111B7A59CA4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10B47DF-F009-FD4D-B045-0418C3E992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327475-DF4E-9843-A67E-133180259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CH" dirty="0"/>
              <a:t>Transfer Learn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903C7B-FA50-7740-A0E8-37996B82F0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757" y="2225279"/>
            <a:ext cx="4443413" cy="29456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750964-C3A6-234B-A4AB-B12890BFA8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380" t="19434" r="9299" b="19434"/>
          <a:stretch/>
        </p:blipFill>
        <p:spPr>
          <a:xfrm>
            <a:off x="6365082" y="2225279"/>
            <a:ext cx="3948113" cy="2945606"/>
          </a:xfrm>
          <a:prstGeom prst="rect">
            <a:avLst/>
          </a:prstGeom>
        </p:spPr>
      </p:pic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BC66B269-D3A9-C04D-8333-1C8D46C1BD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F8B5D077-973C-3F40-80BD-D865ED21DF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6218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241581-8BF1-3840-902D-2C22F77F0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E4FA1-8481-2447-8538-D6EC2E809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9B657-36C8-314E-B93A-3A38F803E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4636F7E-B002-AF43-AB11-6EC1A0B3A1A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E2DAE5B-8366-044B-80E3-66856FC90F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327475-DF4E-9843-A67E-133180259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ransfer Learn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740626-5D92-504E-AE09-3DC97D79A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518" y="1721769"/>
            <a:ext cx="5703914" cy="3958516"/>
          </a:xfrm>
          <a:prstGeom prst="rect">
            <a:avLst/>
          </a:prstGeom>
        </p:spPr>
      </p:pic>
      <p:pic>
        <p:nvPicPr>
          <p:cNvPr id="10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5DDAACB1-8D3F-0445-BD07-5FEDF003FB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27384"/>
            <a:ext cx="1415480" cy="6858000"/>
          </a:xfrm>
          <a:prstGeom prst="rect">
            <a:avLst/>
          </a:prstGeom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61454571-6C05-1641-8947-D56B9DC86D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88632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100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1BEA87-ED80-1B40-BD66-107DBBBD6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A62F2-8E31-5F4F-B5B1-1053BE3C7E03}" type="datetime1">
              <a:rPr lang="en-CH" smtClean="0"/>
              <a:t>31.10.21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1AC5BC-1123-CF44-87AE-3E335EEF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5520" y="6453336"/>
            <a:ext cx="4320480" cy="288032"/>
          </a:xfrm>
        </p:spPr>
        <p:txBody>
          <a:bodyPr/>
          <a:lstStyle/>
          <a:p>
            <a:r>
              <a:rPr lang="en-GB" dirty="0">
                <a:hlinkClick r:id="rId2"/>
              </a:rPr>
              <a:t>https://huggingface.co/models?pipeline_tag=image-classification&amp;sort=downloads</a:t>
            </a:r>
            <a:endParaRPr lang="en-GB" dirty="0"/>
          </a:p>
          <a:p>
            <a:r>
              <a:rPr lang="en-GB" dirty="0">
                <a:hlinkClick r:id="rId3"/>
              </a:rPr>
              <a:t>https://arxiv.org/pdf/2010.11929.pdf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756007-66E1-CC40-B9EA-29A9261B4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rPr lang="en-CH" smtClean="0"/>
              <a:t>26</a:t>
            </a:fld>
            <a:endParaRPr lang="en-CH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7F3EF9D-B96E-1641-A732-FEA140A7C242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56C1D28-15EE-BF4B-989F-379E63B967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A46346A-3FA8-9744-95A0-5026D18C7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ttention </a:t>
            </a:r>
            <a:r>
              <a:rPr lang="de-CH" dirty="0" err="1"/>
              <a:t>is</a:t>
            </a:r>
            <a:r>
              <a:rPr lang="de-CH" dirty="0"/>
              <a:t> all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endParaRPr lang="de-CH" dirty="0"/>
          </a:p>
        </p:txBody>
      </p:sp>
      <p:pic>
        <p:nvPicPr>
          <p:cNvPr id="36866" name="Picture 2" descr="Vision Transformers — attention for vision task. | by nachiket tanksale |  Becoming Human: Artificial Intelligence Magazine">
            <a:extLst>
              <a:ext uri="{FF2B5EF4-FFF2-40B4-BE49-F238E27FC236}">
                <a16:creationId xmlns:a16="http://schemas.microsoft.com/office/drawing/2014/main" id="{F72195E4-84C1-794E-A132-59D09B4CD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1700808"/>
            <a:ext cx="7705700" cy="401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709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3. Azure Machine Learning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31.10.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27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30722" name="Picture 2">
            <a:extLst>
              <a:ext uri="{FF2B5EF4-FFF2-40B4-BE49-F238E27FC236}">
                <a16:creationId xmlns:a16="http://schemas.microsoft.com/office/drawing/2014/main" id="{8E64EC5A-91FE-45E1-8809-B6C6A7631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840" y="4221088"/>
            <a:ext cx="13344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6516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31.10.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28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8370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31.10.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29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9646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1. Azure AI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31.10.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7650" name="Picture 2">
            <a:extLst>
              <a:ext uri="{FF2B5EF4-FFF2-40B4-BE49-F238E27FC236}">
                <a16:creationId xmlns:a16="http://schemas.microsoft.com/office/drawing/2014/main" id="{A9144B4F-60DA-497D-A2F2-6509DD14C6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096" y="3877567"/>
            <a:ext cx="3443888" cy="217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7479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4. </a:t>
            </a:r>
            <a:r>
              <a:rPr lang="en-US" dirty="0" err="1"/>
              <a:t>MLOps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31.10.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30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A156D29-D4E4-46C8-9E14-CB993018E32B}"/>
              </a:ext>
            </a:extLst>
          </p:cNvPr>
          <p:cNvGrpSpPr/>
          <p:nvPr/>
        </p:nvGrpSpPr>
        <p:grpSpPr>
          <a:xfrm>
            <a:off x="1496992" y="4049482"/>
            <a:ext cx="3822096" cy="1440000"/>
            <a:chOff x="1682514" y="4049482"/>
            <a:chExt cx="3822096" cy="1440000"/>
          </a:xfrm>
        </p:grpSpPr>
        <p:pic>
          <p:nvPicPr>
            <p:cNvPr id="31750" name="Picture 6">
              <a:extLst>
                <a:ext uri="{FF2B5EF4-FFF2-40B4-BE49-F238E27FC236}">
                  <a16:creationId xmlns:a16="http://schemas.microsoft.com/office/drawing/2014/main" id="{9898A062-1248-43B4-A51C-B822071730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2514" y="4049482"/>
              <a:ext cx="13344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1" name="Picture 7">
              <a:extLst>
                <a:ext uri="{FF2B5EF4-FFF2-40B4-BE49-F238E27FC236}">
                  <a16:creationId xmlns:a16="http://schemas.microsoft.com/office/drawing/2014/main" id="{9BA7CCA9-96F0-4692-97B9-422778A7E3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610" y="4049482"/>
              <a:ext cx="144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752" name="Picture 8">
              <a:extLst>
                <a:ext uri="{FF2B5EF4-FFF2-40B4-BE49-F238E27FC236}">
                  <a16:creationId xmlns:a16="http://schemas.microsoft.com/office/drawing/2014/main" id="{4F344DD4-B464-41AF-9767-79E47F6B11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0762" y="440948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716878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rPr lang="en-CH"/>
              <a:t>31.10.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rPr/>
              <a:t>31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dirty="0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73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31.10.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32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99477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FD6719-8F01-E347-8568-7FEF161C027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solidFill>
            <a:schemeClr val="accent2"/>
          </a:solidFill>
        </p:spPr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4FDA5C-AF95-C643-A1D3-A7A1ABF29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ielen Dank für die Aufmerksamkei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58FE5BE-1237-714B-909E-37D76D7E34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497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31.10.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4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4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31.10.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5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5828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46423BA1-806F-1648-B817-5A2AC3FD42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7956" r="27956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4536854-5955-AF4C-89E4-1E2390613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6816080" cy="6858000"/>
          </a:xfrm>
          <a:noFill/>
        </p:spPr>
        <p:txBody>
          <a:bodyPr/>
          <a:lstStyle/>
          <a:p>
            <a:r>
              <a:rPr lang="en-US" dirty="0"/>
              <a:t>2. Custom Vision</a:t>
            </a:r>
            <a:endParaRPr lang="x-non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67C910-4A7A-F345-89F3-DAF6F30596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0FF258-BEF9-BF4A-82E5-3ACACA25C02E}" type="datetime1">
              <a:rPr lang="en-CH"/>
              <a:t>31.10.21</a:t>
            </a:fld>
            <a:endParaRPr lang="x-none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84AD88D-64AF-A64C-B0BA-34E699609D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i-Event 2021</a:t>
            </a:r>
            <a:endParaRPr lang="x-none">
              <a:latin typeface="+mn-lt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A8724D8-3C3B-4B44-9102-AAA204DA00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F384F3-7370-614A-A31B-1FFDAFE59CBA}" type="slidenum">
              <a:rPr lang="x-none"/>
              <a:pPr/>
              <a:t>6</a:t>
            </a:fld>
            <a:endParaRPr lang="x-non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2B3EBE3-7CB3-9147-A50B-8F33CD20E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624" y="5301208"/>
            <a:ext cx="1463132" cy="1472952"/>
          </a:xfrm>
          <a:prstGeom prst="rect">
            <a:avLst/>
          </a:prstGeom>
        </p:spPr>
      </p:pic>
      <p:pic>
        <p:nvPicPr>
          <p:cNvPr id="28674" name="Picture 2">
            <a:extLst>
              <a:ext uri="{FF2B5EF4-FFF2-40B4-BE49-F238E27FC236}">
                <a16:creationId xmlns:a16="http://schemas.microsoft.com/office/drawing/2014/main" id="{5640D7D1-CD87-4FED-8418-CB4487C0C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040" y="4077071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959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9BE0166D-A87D-3B4A-BF84-06384D0521D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5"/>
          <a:srcRect l="27956" r="27956"/>
          <a:stretch>
            <a:fillRect/>
          </a:stretch>
        </p:blipFill>
        <p:spPr/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C629C05-8A13-354D-B2FF-8F33C4368F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C629C05-8A13-354D-B2FF-8F33C4368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63FCA-F732-5A4A-B61E-ED72DC215C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Tx/>
            </a:pPr>
            <a:endParaRPr lang="en-US" sz="3600" dirty="0">
              <a:solidFill>
                <a:schemeClr val="tx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Curabitu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ullamcorper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 lorem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 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4A15895E-F715-6C41-9EE0-44673EA04FE4}"/>
              </a:ext>
            </a:extLst>
          </p:cNvPr>
          <p:cNvSpPr>
            <a:spLocks noGrp="1"/>
          </p:cNvSpPr>
          <p:nvPr>
            <p:ph type="dt" sz="half" idx="41"/>
          </p:nvPr>
        </p:nvSpPr>
        <p:spPr>
          <a:xfrm>
            <a:off x="8760296" y="6453336"/>
            <a:ext cx="1656184" cy="288032"/>
          </a:xfrm>
        </p:spPr>
        <p:txBody>
          <a:bodyPr/>
          <a:lstStyle/>
          <a:p>
            <a:fld id="{EA7DA6CC-136A-CF47-A178-395698F46FE4}" type="datetime1">
              <a:t>31.10.21</a:t>
            </a:fld>
            <a:endParaRPr lang="x-none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27597F92-D0D3-5648-AED3-6B5E01E8BE67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>
          <a:xfrm>
            <a:off x="5735960" y="6453336"/>
            <a:ext cx="3744416" cy="288032"/>
          </a:xfrm>
        </p:spPr>
        <p:txBody>
          <a:bodyPr/>
          <a:lstStyle/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DB7D2507-D45C-E14B-B26B-354CD53C1F8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280576" y="6453336"/>
            <a:ext cx="432048" cy="288032"/>
          </a:xfrm>
        </p:spPr>
        <p:txBody>
          <a:bodyPr/>
          <a:lstStyle/>
          <a:p>
            <a:fld id="{D6F384F3-7370-614A-A31B-1FFDAFE59CBA}" type="slidenum">
              <a:t>7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Text Inhal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AD49B8-7EC8-B64D-A44F-3A19846A4C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214" y="5589240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1554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39BA6BA1-15C4-5149-AA9C-CD689368EFB2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 rotWithShape="1">
          <a:blip r:embed="rId2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063293-F1B9-E743-A4B7-64E6118DA6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accent6"/>
                </a:solidFill>
              </a:rPr>
              <a:t>Vivamus</a:t>
            </a:r>
            <a:r>
              <a:rPr lang="en-GB" b="1" dirty="0">
                <a:solidFill>
                  <a:schemeClr val="accent6"/>
                </a:solidFill>
              </a:rPr>
              <a:t> </a:t>
            </a:r>
            <a:r>
              <a:rPr lang="en-GB" b="1" dirty="0" err="1">
                <a:solidFill>
                  <a:schemeClr val="accent6"/>
                </a:solidFill>
              </a:rPr>
              <a:t>elementum</a:t>
            </a:r>
            <a:r>
              <a:rPr lang="en-GB" dirty="0">
                <a:solidFill>
                  <a:schemeClr val="accent6"/>
                </a:solidFill>
              </a:rPr>
              <a:t> </a:t>
            </a:r>
          </a:p>
          <a:p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semper nisi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vulputate</a:t>
            </a:r>
            <a:r>
              <a:rPr lang="en-GB" dirty="0"/>
              <a:t> </a:t>
            </a:r>
            <a:r>
              <a:rPr lang="en-GB" dirty="0" err="1"/>
              <a:t>eleifend</a:t>
            </a:r>
            <a:r>
              <a:rPr lang="en-GB" dirty="0"/>
              <a:t>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leo</a:t>
            </a:r>
            <a:r>
              <a:rPr lang="en-GB" dirty="0"/>
              <a:t> ligula,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eu</a:t>
            </a:r>
            <a:r>
              <a:rPr lang="en-GB" dirty="0"/>
              <a:t>, </a:t>
            </a:r>
            <a:r>
              <a:rPr lang="en-GB" dirty="0" err="1"/>
              <a:t>consequat</a:t>
            </a:r>
            <a:r>
              <a:rPr lang="en-GB" dirty="0"/>
              <a:t> vitae, </a:t>
            </a:r>
            <a:r>
              <a:rPr lang="en-GB" dirty="0" err="1"/>
              <a:t>eleifend</a:t>
            </a:r>
            <a:r>
              <a:rPr lang="en-GB" dirty="0"/>
              <a:t> ac, </a:t>
            </a:r>
            <a:r>
              <a:rPr lang="en-GB" dirty="0" err="1"/>
              <a:t>enim</a:t>
            </a:r>
            <a:r>
              <a:rPr lang="en-GB" dirty="0"/>
              <a:t>. </a:t>
            </a:r>
            <a:r>
              <a:rPr lang="en-GB" dirty="0" err="1"/>
              <a:t>Aliquam</a:t>
            </a:r>
            <a:r>
              <a:rPr lang="en-GB" dirty="0"/>
              <a:t> </a:t>
            </a:r>
            <a:r>
              <a:rPr lang="en-GB" dirty="0" err="1"/>
              <a:t>lorem</a:t>
            </a:r>
            <a:r>
              <a:rPr lang="en-GB" dirty="0"/>
              <a:t> ante, </a:t>
            </a:r>
            <a:r>
              <a:rPr lang="en-GB" dirty="0" err="1"/>
              <a:t>dapibus</a:t>
            </a:r>
            <a:r>
              <a:rPr lang="en-GB" dirty="0"/>
              <a:t> in,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, </a:t>
            </a:r>
            <a:r>
              <a:rPr lang="en-GB" dirty="0" err="1"/>
              <a:t>feugiat</a:t>
            </a:r>
            <a:r>
              <a:rPr lang="en-GB" dirty="0"/>
              <a:t> a, </a:t>
            </a:r>
            <a:r>
              <a:rPr lang="en-GB" dirty="0" err="1"/>
              <a:t>tellus</a:t>
            </a:r>
            <a:r>
              <a:rPr lang="en-GB" dirty="0"/>
              <a:t>. </a:t>
            </a:r>
            <a:r>
              <a:rPr lang="en-GB" dirty="0" err="1"/>
              <a:t>Phasellus</a:t>
            </a:r>
            <a:r>
              <a:rPr lang="en-GB" dirty="0"/>
              <a:t> </a:t>
            </a:r>
            <a:r>
              <a:rPr lang="en-GB" dirty="0" err="1"/>
              <a:t>viverra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metus</a:t>
            </a:r>
            <a:r>
              <a:rPr lang="en-GB" dirty="0"/>
              <a:t> </a:t>
            </a:r>
            <a:r>
              <a:rPr lang="en-GB" dirty="0" err="1"/>
              <a:t>varius</a:t>
            </a:r>
            <a:r>
              <a:rPr lang="en-GB" dirty="0"/>
              <a:t> </a:t>
            </a:r>
            <a:r>
              <a:rPr lang="en-GB" dirty="0" err="1"/>
              <a:t>laoreet</a:t>
            </a:r>
            <a:r>
              <a:rPr lang="en-GB" dirty="0"/>
              <a:t>. </a:t>
            </a:r>
            <a:r>
              <a:rPr lang="en-GB" dirty="0" err="1"/>
              <a:t>Quisque</a:t>
            </a:r>
            <a:r>
              <a:rPr lang="en-GB" dirty="0"/>
              <a:t> </a:t>
            </a:r>
            <a:r>
              <a:rPr lang="en-GB" dirty="0" err="1"/>
              <a:t>rutrum</a:t>
            </a:r>
            <a:r>
              <a:rPr lang="en-GB" dirty="0"/>
              <a:t>. </a:t>
            </a:r>
            <a:r>
              <a:rPr lang="en-GB" dirty="0" err="1"/>
              <a:t>Aenean</a:t>
            </a:r>
            <a:r>
              <a:rPr lang="en-GB" dirty="0"/>
              <a:t> </a:t>
            </a:r>
            <a:r>
              <a:rPr lang="en-GB" dirty="0" err="1"/>
              <a:t>imperdiet</a:t>
            </a:r>
            <a:r>
              <a:rPr lang="en-GB" dirty="0"/>
              <a:t>. </a:t>
            </a:r>
            <a:r>
              <a:rPr lang="en-GB" dirty="0" err="1"/>
              <a:t>Etiam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augue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ullamcorper</a:t>
            </a:r>
            <a:r>
              <a:rPr lang="en-GB" dirty="0"/>
              <a:t> </a:t>
            </a:r>
            <a:r>
              <a:rPr lang="en-GB" dirty="0" err="1"/>
              <a:t>ultricies</a:t>
            </a:r>
            <a:r>
              <a:rPr lang="en-GB" dirty="0"/>
              <a:t> nisi.</a:t>
            </a:r>
            <a:endParaRPr lang="x-non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EEAF346-0DF6-3341-AE77-2959289BA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70EE5-3FF6-B74A-A404-00564CDB5BDA}" type="datetime1">
              <a:t>31.10.21</a:t>
            </a:fld>
            <a:endParaRPr lang="x-non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2B826EC-4372-1F4C-8D06-2B1813C03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384F3-7370-614A-A31B-1FFDAFE59CBA}" type="slidenum">
              <a:t>8</a:t>
            </a:fld>
            <a:endParaRPr lang="x-non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FFED4CD-2234-F642-A969-6FCB9C50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xt Inhalt</a:t>
            </a:r>
            <a:endParaRPr lang="x-non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F519CA-189B-1C4B-AD12-EAA782DB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  <p:sp>
        <p:nvSpPr>
          <p:cNvPr id="12" name="Footer Placeholder 22">
            <a:extLst>
              <a:ext uri="{FF2B5EF4-FFF2-40B4-BE49-F238E27FC236}">
                <a16:creationId xmlns:a16="http://schemas.microsoft.com/office/drawing/2014/main" id="{C0971456-F831-8E45-BD66-602A6C5F1825}"/>
              </a:ext>
            </a:extLst>
          </p:cNvPr>
          <p:cNvSpPr txBox="1">
            <a:spLocks/>
          </p:cNvSpPr>
          <p:nvPr/>
        </p:nvSpPr>
        <p:spPr>
          <a:xfrm>
            <a:off x="1805521" y="6453336"/>
            <a:ext cx="3672408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8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err="1">
                <a:latin typeface="+mn-lt"/>
              </a:rPr>
              <a:t>i</a:t>
            </a:r>
            <a:r>
              <a:rPr lang="en-GB" dirty="0">
                <a:latin typeface="+mn-lt"/>
              </a:rPr>
              <a:t>-Event 2021</a:t>
            </a:r>
            <a:endParaRPr lang="x-non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09396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7E48E6-2F79-1A41-8B2E-8420B08AE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3" name="Date Placeholder 3">
            <a:extLst>
              <a:ext uri="{FF2B5EF4-FFF2-40B4-BE49-F238E27FC236}">
                <a16:creationId xmlns:a16="http://schemas.microsoft.com/office/drawing/2014/main" id="{CCC3CA3E-5E3D-4075-A1DB-E1DE6E145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5" name="Footer Placeholder 4">
            <a:extLst>
              <a:ext uri="{FF2B5EF4-FFF2-40B4-BE49-F238E27FC236}">
                <a16:creationId xmlns:a16="http://schemas.microsoft.com/office/drawing/2014/main" id="{D8FA20EC-319C-4E36-AEF8-B60DEFDA4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7" name="Slide Number Placeholder 5">
            <a:extLst>
              <a:ext uri="{FF2B5EF4-FFF2-40B4-BE49-F238E27FC236}">
                <a16:creationId xmlns:a16="http://schemas.microsoft.com/office/drawing/2014/main" id="{B6FD27E3-0ECB-436B-9E69-42DDA6929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17A1B8-50AA-FB47-899D-D5743BAA1336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85B3CF0-033E-024C-AFB1-B2C41BF475B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4F937C2-4A58-714C-BD97-18E72E7ACB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06DC9712-4F0E-4411-91BB-E3A19AD74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ieht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AI?</a:t>
            </a:r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154437AD-3BC5-8940-A9B2-FF1840AADA3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453188"/>
            <a:ext cx="431800" cy="288925"/>
          </a:xfrm>
        </p:spPr>
        <p:txBody>
          <a:bodyPr/>
          <a:lstStyle/>
          <a:p>
            <a:fld id="{F917A1B8-50AA-FB47-899D-D5743BAA133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5122" name="Picture 2" descr="Science of vision: How do our eyes enable us to see? – How It Works">
            <a:extLst>
              <a:ext uri="{FF2B5EF4-FFF2-40B4-BE49-F238E27FC236}">
                <a16:creationId xmlns:a16="http://schemas.microsoft.com/office/drawing/2014/main" id="{83402BE1-0A61-EA45-B319-C015AD9290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2964"/>
          <a:stretch/>
        </p:blipFill>
        <p:spPr bwMode="auto">
          <a:xfrm>
            <a:off x="1838325" y="1338137"/>
            <a:ext cx="8515350" cy="5040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Bildplatzhalter 10" descr="Ein Bild, das Outdoorobjekt, Stern, blau, schließen enthält.&#10;&#10;Automatisch generierte Beschreibung">
            <a:extLst>
              <a:ext uri="{FF2B5EF4-FFF2-40B4-BE49-F238E27FC236}">
                <a16:creationId xmlns:a16="http://schemas.microsoft.com/office/drawing/2014/main" id="{D423B460-AAD3-7E47-BE5D-7A7039C1E8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193" r="44193"/>
          <a:stretch>
            <a:fillRect/>
          </a:stretch>
        </p:blipFill>
        <p:spPr>
          <a:xfrm>
            <a:off x="0" y="0"/>
            <a:ext cx="1415480" cy="6858000"/>
          </a:xfrm>
          <a:prstGeom prst="rect">
            <a:avLst/>
          </a:prstGeom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E2694F7B-7752-1F4A-A2B3-EC3F4EFD54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94" y="5661248"/>
            <a:ext cx="1105492" cy="111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074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.Y1tEjMGalM_LbpVnd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v520rEDaxBViBkpAyhA"/>
</p:tagLst>
</file>

<file path=ppt/theme/theme1.xml><?xml version="1.0" encoding="utf-8"?>
<a:theme xmlns:a="http://schemas.openxmlformats.org/drawingml/2006/main" name="Custom Design">
  <a:themeElements>
    <a:clrScheme name="ipt">
      <a:dk1>
        <a:srgbClr val="054166"/>
      </a:dk1>
      <a:lt1>
        <a:srgbClr val="FFFFFF"/>
      </a:lt1>
      <a:dk2>
        <a:srgbClr val="BEBEBE"/>
      </a:dk2>
      <a:lt2>
        <a:srgbClr val="00659D"/>
      </a:lt2>
      <a:accent1>
        <a:srgbClr val="C7004B"/>
      </a:accent1>
      <a:accent2>
        <a:srgbClr val="E61873"/>
      </a:accent2>
      <a:accent3>
        <a:srgbClr val="76C7C9"/>
      </a:accent3>
      <a:accent4>
        <a:srgbClr val="0093D9"/>
      </a:accent4>
      <a:accent5>
        <a:srgbClr val="FBB934"/>
      </a:accent5>
      <a:accent6>
        <a:srgbClr val="940037"/>
      </a:accent6>
      <a:hlink>
        <a:srgbClr val="0093D9"/>
      </a:hlink>
      <a:folHlink>
        <a:srgbClr val="00659D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rnd">
          <a:noFill/>
          <a:round/>
        </a:ln>
      </a:spPr>
      <a:bodyPr rot="0" spcFirstLastPara="0" vertOverflow="overflow" horzOverflow="overflow" vert="horz" wrap="square" lIns="216000" tIns="216000" rIns="216000" bIns="21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0400" indent="-230400" algn="l">
          <a:spcAft>
            <a:spcPts val="600"/>
          </a:spcAft>
          <a:buClrTx/>
          <a:buFont typeface="Arial" panose="020B0604020202020204" pitchFamily="34" charset="0"/>
          <a:buChar char="•"/>
          <a:defRPr sz="18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2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230400" indent="-230400" algn="l">
          <a:spcAft>
            <a:spcPts val="600"/>
          </a:spcAft>
          <a:buFont typeface="Arial" panose="020B0604020202020204" pitchFamily="34" charset="0"/>
          <a:buChar char="•"/>
          <a:defRPr sz="180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pt master2020" id="{78EF6D13-1BDC-AD4F-8545-78752AC15177}" vid="{91C07203-34FF-174C-8610-6683D2DF6FBB}"/>
    </a:ext>
  </a:extLst>
</a:theme>
</file>

<file path=ppt/theme/theme2.xml><?xml version="1.0" encoding="utf-8"?>
<a:theme xmlns:a="http://schemas.openxmlformats.org/drawingml/2006/main" name="Office Theme">
  <a:themeElements>
    <a:clrScheme name="ipt">
      <a:dk1>
        <a:srgbClr val="000000"/>
      </a:dk1>
      <a:lt1>
        <a:srgbClr val="FFFFFF"/>
      </a:lt1>
      <a:dk2>
        <a:srgbClr val="EA094B"/>
      </a:dk2>
      <a:lt2>
        <a:srgbClr val="0066A1"/>
      </a:lt2>
      <a:accent1>
        <a:srgbClr val="9A0F36"/>
      </a:accent1>
      <a:accent2>
        <a:srgbClr val="003E60"/>
      </a:accent2>
      <a:accent3>
        <a:srgbClr val="EB6E7B"/>
      </a:accent3>
      <a:accent4>
        <a:srgbClr val="4AACDD"/>
      </a:accent4>
      <a:accent5>
        <a:srgbClr val="E2007A"/>
      </a:accent5>
      <a:accent6>
        <a:srgbClr val="55B066"/>
      </a:accent6>
      <a:hlink>
        <a:srgbClr val="000000"/>
      </a:hlink>
      <a:folHlink>
        <a:srgbClr val="003E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44</TotalTime>
  <Words>857</Words>
  <Application>Microsoft Macintosh PowerPoint</Application>
  <PresentationFormat>Widescreen</PresentationFormat>
  <Paragraphs>149</Paragraphs>
  <Slides>3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0" baseType="lpstr">
      <vt:lpstr>Arial</vt:lpstr>
      <vt:lpstr>Calibri</vt:lpstr>
      <vt:lpstr>Carlito</vt:lpstr>
      <vt:lpstr>DejaVu Sans</vt:lpstr>
      <vt:lpstr>Wingdings</vt:lpstr>
      <vt:lpstr>Custom Design</vt:lpstr>
      <vt:lpstr>think-cell Slide</vt:lpstr>
      <vt:lpstr>Hitchhiker’s Guide to Azure Machine Learning</vt:lpstr>
      <vt:lpstr>Agenda</vt:lpstr>
      <vt:lpstr>1. Azure AI</vt:lpstr>
      <vt:lpstr>Text Inhalt</vt:lpstr>
      <vt:lpstr>Text Inhalt</vt:lpstr>
      <vt:lpstr>2. Custom Vision</vt:lpstr>
      <vt:lpstr>Text Inhalt</vt:lpstr>
      <vt:lpstr>Text Inhalt</vt:lpstr>
      <vt:lpstr>Wie sieht ein AI?</vt:lpstr>
      <vt:lpstr>Wie sieht ein AI?</vt:lpstr>
      <vt:lpstr>Neuronales Netzwerk – Abstraktion</vt:lpstr>
      <vt:lpstr>Neuronales Netzwerk - Abstraktion</vt:lpstr>
      <vt:lpstr>Fully Connected Neural Network</vt:lpstr>
      <vt:lpstr>Lokalität ist wichtig</vt:lpstr>
      <vt:lpstr>Lokalität ist wichtig - Convolution (Faltung)</vt:lpstr>
      <vt:lpstr>Mit Variation umgehen</vt:lpstr>
      <vt:lpstr>Mit Variation umgehen</vt:lpstr>
      <vt:lpstr>Filter </vt:lpstr>
      <vt:lpstr>Convolution (Faltung) Operation</vt:lpstr>
      <vt:lpstr>Filter als Feature</vt:lpstr>
      <vt:lpstr>Pooling als Dimensionsreduktion</vt:lpstr>
      <vt:lpstr>Convolution Neural Network (CNN)</vt:lpstr>
      <vt:lpstr>CNN für Klassifikation</vt:lpstr>
      <vt:lpstr>Transfer Learning</vt:lpstr>
      <vt:lpstr>Transfer Learning</vt:lpstr>
      <vt:lpstr>Attention is all you need</vt:lpstr>
      <vt:lpstr>3. Azure Machine Learning</vt:lpstr>
      <vt:lpstr>Text Inhalt</vt:lpstr>
      <vt:lpstr>Text Inhalt</vt:lpstr>
      <vt:lpstr>4. MLOps</vt:lpstr>
      <vt:lpstr>Text Inhalt</vt:lpstr>
      <vt:lpstr>Text Inhal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nge Rede, kurzer Sinn: Titel</dc:title>
  <dc:creator>Monika Spisak</dc:creator>
  <cp:lastModifiedBy>Daniel Yu</cp:lastModifiedBy>
  <cp:revision>20</cp:revision>
  <dcterms:created xsi:type="dcterms:W3CDTF">2021-08-06T10:54:09Z</dcterms:created>
  <dcterms:modified xsi:type="dcterms:W3CDTF">2021-10-31T20:1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LatestUserAccountName">
    <vt:lpwstr>martina.kaeppeli@ipt.ch</vt:lpwstr>
  </property>
  <property fmtid="{D5CDD505-2E9C-101B-9397-08002B2CF9AE}" pid="3" name="Offisync_UpdateToken">
    <vt:lpwstr>11</vt:lpwstr>
  </property>
  <property fmtid="{D5CDD505-2E9C-101B-9397-08002B2CF9AE}" pid="4" name="Offisync_ProviderInitializationData">
    <vt:lpwstr>https://ipt.jiveon.com</vt:lpwstr>
  </property>
  <property fmtid="{D5CDD505-2E9C-101B-9397-08002B2CF9AE}" pid="5" name="Offisync_ServerID">
    <vt:lpwstr>9a335159-8580-40e2-8df8-4e77e5ab0749</vt:lpwstr>
  </property>
  <property fmtid="{D5CDD505-2E9C-101B-9397-08002B2CF9AE}" pid="6" name="Offisync_UniqueId">
    <vt:lpwstr>2430</vt:lpwstr>
  </property>
  <property fmtid="{D5CDD505-2E9C-101B-9397-08002B2CF9AE}" pid="7" name="Jive_VersionGuid">
    <vt:lpwstr>8370502f-3408-485c-b708-899ffc4a767a</vt:lpwstr>
  </property>
</Properties>
</file>